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7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90" r:id="rId1"/>
    <p:sldMasterId id="2147483691" r:id="rId2"/>
    <p:sldMasterId id="2147483712" r:id="rId3"/>
    <p:sldMasterId id="2147483724" r:id="rId4"/>
  </p:sldMasterIdLst>
  <p:notesMasterIdLst>
    <p:notesMasterId r:id="rId79"/>
  </p:notesMasterIdLst>
  <p:sldIdLst>
    <p:sldId id="256" r:id="rId5"/>
    <p:sldId id="258" r:id="rId6"/>
    <p:sldId id="326" r:id="rId7"/>
    <p:sldId id="966" r:id="rId8"/>
    <p:sldId id="971" r:id="rId9"/>
    <p:sldId id="972" r:id="rId10"/>
    <p:sldId id="968" r:id="rId11"/>
    <p:sldId id="973" r:id="rId12"/>
    <p:sldId id="325" r:id="rId13"/>
    <p:sldId id="959" r:id="rId14"/>
    <p:sldId id="955" r:id="rId15"/>
    <p:sldId id="982" r:id="rId16"/>
    <p:sldId id="957" r:id="rId17"/>
    <p:sldId id="960" r:id="rId18"/>
    <p:sldId id="961" r:id="rId19"/>
    <p:sldId id="259" r:id="rId20"/>
    <p:sldId id="984" r:id="rId21"/>
    <p:sldId id="988" r:id="rId22"/>
    <p:sldId id="271" r:id="rId23"/>
    <p:sldId id="257" r:id="rId24"/>
    <p:sldId id="267" r:id="rId25"/>
    <p:sldId id="989" r:id="rId26"/>
    <p:sldId id="270" r:id="rId27"/>
    <p:sldId id="272" r:id="rId28"/>
    <p:sldId id="273" r:id="rId29"/>
    <p:sldId id="274" r:id="rId30"/>
    <p:sldId id="990" r:id="rId31"/>
    <p:sldId id="269" r:id="rId32"/>
    <p:sldId id="268" r:id="rId33"/>
    <p:sldId id="262" r:id="rId34"/>
    <p:sldId id="275" r:id="rId35"/>
    <p:sldId id="265" r:id="rId36"/>
    <p:sldId id="263" r:id="rId37"/>
    <p:sldId id="975" r:id="rId38"/>
    <p:sldId id="985" r:id="rId39"/>
    <p:sldId id="991" r:id="rId40"/>
    <p:sldId id="992" r:id="rId41"/>
    <p:sldId id="260" r:id="rId42"/>
    <p:sldId id="261" r:id="rId43"/>
    <p:sldId id="993" r:id="rId44"/>
    <p:sldId id="994" r:id="rId45"/>
    <p:sldId id="264" r:id="rId46"/>
    <p:sldId id="995" r:id="rId47"/>
    <p:sldId id="266" r:id="rId48"/>
    <p:sldId id="996" r:id="rId49"/>
    <p:sldId id="997" r:id="rId50"/>
    <p:sldId id="998" r:id="rId51"/>
    <p:sldId id="999" r:id="rId52"/>
    <p:sldId id="1000" r:id="rId53"/>
    <p:sldId id="976" r:id="rId54"/>
    <p:sldId id="986" r:id="rId55"/>
    <p:sldId id="339" r:id="rId56"/>
    <p:sldId id="340" r:id="rId57"/>
    <p:sldId id="354" r:id="rId58"/>
    <p:sldId id="347" r:id="rId59"/>
    <p:sldId id="345" r:id="rId60"/>
    <p:sldId id="351" r:id="rId61"/>
    <p:sldId id="353" r:id="rId62"/>
    <p:sldId id="516" r:id="rId63"/>
    <p:sldId id="517" r:id="rId64"/>
    <p:sldId id="518" r:id="rId65"/>
    <p:sldId id="520" r:id="rId66"/>
    <p:sldId id="349" r:id="rId67"/>
    <p:sldId id="519" r:id="rId68"/>
    <p:sldId id="346" r:id="rId69"/>
    <p:sldId id="977" r:id="rId70"/>
    <p:sldId id="978" r:id="rId71"/>
    <p:sldId id="980" r:id="rId72"/>
    <p:sldId id="983" r:id="rId73"/>
    <p:sldId id="981" r:id="rId74"/>
    <p:sldId id="987" r:id="rId75"/>
    <p:sldId id="979" r:id="rId76"/>
    <p:sldId id="1001" r:id="rId77"/>
    <p:sldId id="316" r:id="rId78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80"/>
      <p:bold r:id="rId81"/>
      <p:italic r:id="rId82"/>
      <p:boldItalic r:id="rId83"/>
    </p:embeddedFont>
    <p:embeddedFont>
      <p:font typeface="Calibri Light" panose="020F0302020204030204" pitchFamily="34" charset="0"/>
      <p:regular r:id="rId84"/>
      <p:italic r:id="rId85"/>
    </p:embeddedFont>
    <p:embeddedFont>
      <p:font typeface="Century Gothic" panose="020B0502020202020204" pitchFamily="34" charset="0"/>
      <p:regular r:id="rId86"/>
      <p:bold r:id="rId87"/>
      <p:italic r:id="rId88"/>
      <p:boldItalic r:id="rId89"/>
    </p:embeddedFont>
    <p:embeddedFont>
      <p:font typeface="Rockwell" panose="02060603020205020403" pitchFamily="18" charset="0"/>
      <p:regular r:id="rId90"/>
      <p:bold r:id="rId91"/>
      <p:italic r:id="rId92"/>
      <p:boldItalic r:id="rId93"/>
    </p:embeddedFont>
    <p:embeddedFont>
      <p:font typeface="Trebuchet MS" panose="020B0603020202020204" pitchFamily="34" charset="0"/>
      <p:regular r:id="rId94"/>
      <p:bold r:id="rId95"/>
      <p:italic r:id="rId96"/>
      <p:boldItalic r:id="rId97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Default Section" id="{D0C28A74-B114-4C87-B949-39C13A29D0FD}">
          <p14:sldIdLst>
            <p14:sldId id="256"/>
          </p14:sldIdLst>
        </p14:section>
        <p14:section name="Demo Day" id="{1DD2A63A-2ED4-4ECC-B83A-62843EFDF100}">
          <p14:sldIdLst>
            <p14:sldId id="258"/>
            <p14:sldId id="326"/>
            <p14:sldId id="966"/>
            <p14:sldId id="971"/>
            <p14:sldId id="972"/>
            <p14:sldId id="968"/>
            <p14:sldId id="973"/>
            <p14:sldId id="325"/>
            <p14:sldId id="959"/>
            <p14:sldId id="955"/>
            <p14:sldId id="982"/>
            <p14:sldId id="957"/>
            <p14:sldId id="960"/>
            <p14:sldId id="961"/>
            <p14:sldId id="259"/>
            <p14:sldId id="984"/>
            <p14:sldId id="988"/>
            <p14:sldId id="271"/>
            <p14:sldId id="257"/>
            <p14:sldId id="267"/>
            <p14:sldId id="989"/>
            <p14:sldId id="270"/>
            <p14:sldId id="272"/>
            <p14:sldId id="273"/>
            <p14:sldId id="274"/>
            <p14:sldId id="990"/>
            <p14:sldId id="269"/>
            <p14:sldId id="268"/>
            <p14:sldId id="262"/>
            <p14:sldId id="275"/>
            <p14:sldId id="265"/>
            <p14:sldId id="263"/>
            <p14:sldId id="975"/>
            <p14:sldId id="985"/>
            <p14:sldId id="991"/>
            <p14:sldId id="992"/>
            <p14:sldId id="260"/>
            <p14:sldId id="261"/>
            <p14:sldId id="993"/>
            <p14:sldId id="994"/>
            <p14:sldId id="264"/>
            <p14:sldId id="995"/>
            <p14:sldId id="266"/>
            <p14:sldId id="996"/>
            <p14:sldId id="997"/>
            <p14:sldId id="998"/>
            <p14:sldId id="999"/>
            <p14:sldId id="1000"/>
            <p14:sldId id="976"/>
            <p14:sldId id="986"/>
            <p14:sldId id="339"/>
            <p14:sldId id="340"/>
            <p14:sldId id="354"/>
            <p14:sldId id="347"/>
            <p14:sldId id="345"/>
            <p14:sldId id="351"/>
            <p14:sldId id="353"/>
            <p14:sldId id="516"/>
            <p14:sldId id="517"/>
            <p14:sldId id="518"/>
            <p14:sldId id="520"/>
            <p14:sldId id="349"/>
            <p14:sldId id="519"/>
            <p14:sldId id="346"/>
            <p14:sldId id="977"/>
            <p14:sldId id="978"/>
            <p14:sldId id="980"/>
            <p14:sldId id="983"/>
            <p14:sldId id="981"/>
            <p14:sldId id="987"/>
            <p14:sldId id="979"/>
            <p14:sldId id="1001"/>
            <p14:sldId id="31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787"/>
    <a:srgbClr val="E060CE"/>
    <a:srgbClr val="132461"/>
    <a:srgbClr val="F1F1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09D8EC-8577-4C21-A89B-067E066FF05F}" v="2759" dt="2019-06-26T07:28:08.34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9260" autoAdjust="0"/>
  </p:normalViewPr>
  <p:slideViewPr>
    <p:cSldViewPr snapToGrid="0">
      <p:cViewPr varScale="1">
        <p:scale>
          <a:sx n="79" d="100"/>
          <a:sy n="79" d="100"/>
        </p:scale>
        <p:origin x="920" y="5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7101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84" Type="http://schemas.openxmlformats.org/officeDocument/2006/relationships/font" Target="fonts/font5.fntdata"/><Relationship Id="rId89" Type="http://schemas.openxmlformats.org/officeDocument/2006/relationships/font" Target="fonts/font10.fntdata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notesMaster" Target="notesMasters/notesMaster1.xml"/><Relationship Id="rId102" Type="http://schemas.microsoft.com/office/2015/10/relationships/revisionInfo" Target="revisionInfo.xml"/><Relationship Id="rId5" Type="http://schemas.openxmlformats.org/officeDocument/2006/relationships/slide" Target="slides/slide1.xml"/><Relationship Id="rId90" Type="http://schemas.openxmlformats.org/officeDocument/2006/relationships/font" Target="fonts/font11.fntdata"/><Relationship Id="rId95" Type="http://schemas.openxmlformats.org/officeDocument/2006/relationships/font" Target="fonts/font16.fntdata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80" Type="http://schemas.openxmlformats.org/officeDocument/2006/relationships/font" Target="fonts/font1.fntdata"/><Relationship Id="rId85" Type="http://schemas.openxmlformats.org/officeDocument/2006/relationships/font" Target="fonts/font6.fntdata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83" Type="http://schemas.openxmlformats.org/officeDocument/2006/relationships/font" Target="fonts/font4.fntdata"/><Relationship Id="rId88" Type="http://schemas.openxmlformats.org/officeDocument/2006/relationships/font" Target="fonts/font9.fntdata"/><Relationship Id="rId91" Type="http://schemas.openxmlformats.org/officeDocument/2006/relationships/font" Target="fonts/font12.fntdata"/><Relationship Id="rId96" Type="http://schemas.openxmlformats.org/officeDocument/2006/relationships/font" Target="fonts/font17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slide" Target="slides/slide74.xml"/><Relationship Id="rId81" Type="http://schemas.openxmlformats.org/officeDocument/2006/relationships/font" Target="fonts/font2.fntdata"/><Relationship Id="rId86" Type="http://schemas.openxmlformats.org/officeDocument/2006/relationships/font" Target="fonts/font7.fntdata"/><Relationship Id="rId94" Type="http://schemas.openxmlformats.org/officeDocument/2006/relationships/font" Target="fonts/font15.fntdata"/><Relationship Id="rId99" Type="http://schemas.openxmlformats.org/officeDocument/2006/relationships/viewProps" Target="viewProps.xml"/><Relationship Id="rId10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97" Type="http://schemas.openxmlformats.org/officeDocument/2006/relationships/font" Target="fonts/font18.fntdata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openxmlformats.org/officeDocument/2006/relationships/font" Target="fonts/font13.fntdata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Relationship Id="rId87" Type="http://schemas.openxmlformats.org/officeDocument/2006/relationships/font" Target="fonts/font8.fntdata"/><Relationship Id="rId61" Type="http://schemas.openxmlformats.org/officeDocument/2006/relationships/slide" Target="slides/slide57.xml"/><Relationship Id="rId82" Type="http://schemas.openxmlformats.org/officeDocument/2006/relationships/font" Target="fonts/font3.fntdata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56" Type="http://schemas.openxmlformats.org/officeDocument/2006/relationships/slide" Target="slides/slide52.xml"/><Relationship Id="rId77" Type="http://schemas.openxmlformats.org/officeDocument/2006/relationships/slide" Target="slides/slide73.xml"/><Relationship Id="rId100" Type="http://schemas.openxmlformats.org/officeDocument/2006/relationships/theme" Target="theme/theme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93" Type="http://schemas.openxmlformats.org/officeDocument/2006/relationships/font" Target="fonts/font14.fntdata"/><Relationship Id="rId98" Type="http://schemas.openxmlformats.org/officeDocument/2006/relationships/presProps" Target="presProps.xml"/><Relationship Id="rId3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g57f00a084e_0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0" name="Google Shape;240;g57f00a084e_0_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g59f1c92c29_0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0" name="Google Shape;280;g59f1c92c29_0_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183361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Google Shape;255;g59f1c92c29_0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6" name="Google Shape;256;g59f1c92c29_0_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g59f1c92c29_0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0" name="Google Shape;280;g59f1c92c29_0_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1861468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Google Shape;255;g59f1c92c29_0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6" name="Google Shape;256;g59f1c92c29_0_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57050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g59f1c92c29_0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0" name="Google Shape;280;g59f1c92c29_0_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248320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Google Shape;255;g59f1c92c29_0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6" name="Google Shape;256;g59f1c92c29_0_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8968472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g59f1c92c29_0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0" name="Google Shape;280;g59f1c92c29_0_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3759855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odprint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1D171C-67D1-AE41-962A-E7402841FA8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935525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Google Shape;255;g59f1c92c29_0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6" name="Google Shape;256;g59f1c92c29_0_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5299915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g59f1c92c29_0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0" name="Google Shape;280;g59f1c92c29_0_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325554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" name="Google Shape;249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50" name="Google Shape;250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g59f1c92c29_0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0" name="Google Shape;280;g59f1c92c29_0_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3489028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g59f1c92c29_0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0" name="Google Shape;280;g59f1c92c29_0_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96136103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g59f1c92c29_0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0" name="Google Shape;280;g59f1c92c29_0_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438998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g59f1c92c29_0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0" name="Google Shape;280;g59f1c92c29_0_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3344291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Google Shape;255;g59f1c92c29_0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6" name="Google Shape;256;g59f1c92c29_0_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569890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Google Shape;627;g59f1c92c29_0_5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8" name="Google Shape;628;g59f1c92c29_0_5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/>
              <a:t>Urban</a:t>
            </a:r>
          </a:p>
          <a:p>
            <a:r>
              <a:rPr lang="en-AU" dirty="0"/>
              <a:t>No clear ways to solve it globally</a:t>
            </a:r>
          </a:p>
          <a:p>
            <a:r>
              <a:rPr lang="en-AU" dirty="0"/>
              <a:t>It’s not just about food</a:t>
            </a:r>
          </a:p>
          <a:p>
            <a:r>
              <a:rPr lang="en-AU" dirty="0"/>
              <a:t>May be some of them are having 3 meals a day</a:t>
            </a:r>
          </a:p>
          <a:p>
            <a:r>
              <a:rPr lang="en-AU" dirty="0"/>
              <a:t>Money to buy snacks</a:t>
            </a:r>
          </a:p>
          <a:p>
            <a:r>
              <a:rPr lang="en-AU" dirty="0"/>
              <a:t>Nutrition is in inefficient</a:t>
            </a:r>
          </a:p>
          <a:p>
            <a:endParaRPr lang="en-AU" dirty="0"/>
          </a:p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6921974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g59f1c92c29_0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0" name="Google Shape;280;g59f1c92c29_0_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906410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g59f1c92c29_0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0" name="Google Shape;280;g59f1c92c29_0_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163572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g59f1c92c29_0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0" name="Google Shape;280;g59f1c92c29_0_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8140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g59f1c92c29_0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0" name="Google Shape;280;g59f1c92c29_0_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229336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g59f1c92c29_0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0" name="Google Shape;280;g59f1c92c29_0_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007146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g59f1c92c29_0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0" name="Google Shape;280;g59f1c92c29_0_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997210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.bin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- Straw">
  <p:cSld name="TITLE_1_1">
    <p:spTree>
      <p:nvGrpSpPr>
        <p:cNvPr id="1" name="Shape 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oogle Shape;7;p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Google Shape;8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72875" y="4441625"/>
            <a:ext cx="1343324" cy="361600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Google Shape;9;p2"/>
          <p:cNvSpPr txBox="1">
            <a:spLocks noGrp="1"/>
          </p:cNvSpPr>
          <p:nvPr>
            <p:ph type="title"/>
          </p:nvPr>
        </p:nvSpPr>
        <p:spPr>
          <a:xfrm>
            <a:off x="194475" y="959925"/>
            <a:ext cx="7736700" cy="57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Arial"/>
              <a:buNone/>
              <a:defRPr sz="30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subTitle" idx="1"/>
          </p:nvPr>
        </p:nvSpPr>
        <p:spPr>
          <a:xfrm>
            <a:off x="194475" y="1531425"/>
            <a:ext cx="7736700" cy="4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defRPr sz="1600" b="1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2"/>
          </p:nvPr>
        </p:nvSpPr>
        <p:spPr>
          <a:xfrm>
            <a:off x="246300" y="2086625"/>
            <a:ext cx="2373900" cy="77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rge Image + Text">
  <p:cSld name="CUSTOM_1"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9" name="Google Shape;89;p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17050" y="4813975"/>
            <a:ext cx="595602" cy="160325"/>
          </a:xfrm>
          <a:prstGeom prst="rect">
            <a:avLst/>
          </a:prstGeom>
          <a:noFill/>
          <a:ln>
            <a:noFill/>
          </a:ln>
        </p:spPr>
      </p:pic>
      <p:sp>
        <p:nvSpPr>
          <p:cNvPr id="90" name="Google Shape;90;p17"/>
          <p:cNvSpPr txBox="1">
            <a:spLocks noGrp="1"/>
          </p:cNvSpPr>
          <p:nvPr>
            <p:ph type="subTitle" idx="1"/>
          </p:nvPr>
        </p:nvSpPr>
        <p:spPr>
          <a:xfrm>
            <a:off x="117850" y="89825"/>
            <a:ext cx="2975700" cy="33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1" name="Google Shape;91;p17"/>
          <p:cNvSpPr txBox="1">
            <a:spLocks noGrp="1"/>
          </p:cNvSpPr>
          <p:nvPr>
            <p:ph type="body" idx="2"/>
          </p:nvPr>
        </p:nvSpPr>
        <p:spPr>
          <a:xfrm>
            <a:off x="137350" y="622050"/>
            <a:ext cx="2869200" cy="280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●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○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■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●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○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743200" marR="0" lvl="5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■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3200400" marR="0" lvl="6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●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3657600" marR="0" lvl="7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○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4114800" marR="0" lvl="8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■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  <p:sp>
        <p:nvSpPr>
          <p:cNvPr id="92" name="Google Shape;92;p17"/>
          <p:cNvSpPr txBox="1">
            <a:spLocks noGrp="1"/>
          </p:cNvSpPr>
          <p:nvPr>
            <p:ph type="subTitle" idx="3"/>
          </p:nvPr>
        </p:nvSpPr>
        <p:spPr>
          <a:xfrm>
            <a:off x="137350" y="3428250"/>
            <a:ext cx="3158700" cy="28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93" name="Google Shape;93;p17"/>
          <p:cNvCxnSpPr/>
          <p:nvPr/>
        </p:nvCxnSpPr>
        <p:spPr>
          <a:xfrm>
            <a:off x="3165850" y="1700"/>
            <a:ext cx="0" cy="5165400"/>
          </a:xfrm>
          <a:prstGeom prst="straightConnector1">
            <a:avLst/>
          </a:prstGeom>
          <a:noFill/>
          <a:ln w="9525" cap="flat" cmpd="sng">
            <a:solidFill>
              <a:srgbClr val="D9D9D9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Purple Layout">
  <p:cSld name="CUSTOM_2_1"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18"/>
          <p:cNvSpPr/>
          <p:nvPr/>
        </p:nvSpPr>
        <p:spPr>
          <a:xfrm>
            <a:off x="4761000" y="0"/>
            <a:ext cx="4383000" cy="5143500"/>
          </a:xfrm>
          <a:prstGeom prst="rect">
            <a:avLst/>
          </a:prstGeom>
          <a:solidFill>
            <a:srgbClr val="9B00C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6" name="Google Shape;96;p1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66425" y="4816019"/>
            <a:ext cx="595602" cy="162631"/>
          </a:xfrm>
          <a:prstGeom prst="rect">
            <a:avLst/>
          </a:prstGeom>
          <a:noFill/>
          <a:ln>
            <a:noFill/>
          </a:ln>
        </p:spPr>
      </p:pic>
      <p:sp>
        <p:nvSpPr>
          <p:cNvPr id="97" name="Google Shape;97;p18"/>
          <p:cNvSpPr txBox="1">
            <a:spLocks noGrp="1"/>
          </p:cNvSpPr>
          <p:nvPr>
            <p:ph type="subTitle" idx="1"/>
          </p:nvPr>
        </p:nvSpPr>
        <p:spPr>
          <a:xfrm>
            <a:off x="4847250" y="89800"/>
            <a:ext cx="4079100" cy="32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8" name="Google Shape;98;p18"/>
          <p:cNvSpPr txBox="1">
            <a:spLocks noGrp="1"/>
          </p:cNvSpPr>
          <p:nvPr>
            <p:ph type="body" idx="2"/>
          </p:nvPr>
        </p:nvSpPr>
        <p:spPr>
          <a:xfrm>
            <a:off x="4898350" y="622050"/>
            <a:ext cx="4028100" cy="216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entury Gothic"/>
              <a:buChar char="●"/>
              <a:defRPr sz="1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entury Gothic"/>
              <a:buChar char="○"/>
              <a:defRPr sz="1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entury Gothic"/>
              <a:buChar char="■"/>
              <a:defRPr sz="1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entury Gothic"/>
              <a:buChar char="●"/>
              <a:defRPr sz="1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entury Gothic"/>
              <a:buChar char="○"/>
              <a:defRPr sz="1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743200" marR="0" lvl="5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entury Gothic"/>
              <a:buChar char="■"/>
              <a:defRPr sz="1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3200400" marR="0" lvl="6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entury Gothic"/>
              <a:buChar char="●"/>
              <a:defRPr sz="1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3657600" marR="0" lvl="7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entury Gothic"/>
              <a:buChar char="○"/>
              <a:defRPr sz="1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4114800" marR="0" lvl="8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entury Gothic"/>
              <a:buChar char="■"/>
              <a:defRPr sz="1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  <p:sp>
        <p:nvSpPr>
          <p:cNvPr id="99" name="Google Shape;99;p18"/>
          <p:cNvSpPr txBox="1">
            <a:spLocks noGrp="1"/>
          </p:cNvSpPr>
          <p:nvPr>
            <p:ph type="subTitle" idx="3"/>
          </p:nvPr>
        </p:nvSpPr>
        <p:spPr>
          <a:xfrm>
            <a:off x="4847250" y="2783550"/>
            <a:ext cx="4079100" cy="28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 - Sea">
  <p:cSld name="CUSTOM_7_1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" name="Google Shape;107;p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8962" y="-10675"/>
            <a:ext cx="9181925" cy="5164849"/>
          </a:xfrm>
          <a:prstGeom prst="rect">
            <a:avLst/>
          </a:prstGeom>
          <a:noFill/>
          <a:ln>
            <a:noFill/>
          </a:ln>
        </p:spPr>
      </p:pic>
      <p:pic>
        <p:nvPicPr>
          <p:cNvPr id="108" name="Google Shape;108;p2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47900" y="781975"/>
            <a:ext cx="1343324" cy="361600"/>
          </a:xfrm>
          <a:prstGeom prst="rect">
            <a:avLst/>
          </a:prstGeom>
          <a:noFill/>
          <a:ln>
            <a:noFill/>
          </a:ln>
        </p:spPr>
      </p:pic>
      <p:sp>
        <p:nvSpPr>
          <p:cNvPr id="109" name="Google Shape;109;p22"/>
          <p:cNvSpPr txBox="1">
            <a:spLocks noGrp="1"/>
          </p:cNvSpPr>
          <p:nvPr>
            <p:ph type="subTitle" idx="1"/>
          </p:nvPr>
        </p:nvSpPr>
        <p:spPr>
          <a:xfrm>
            <a:off x="246300" y="2227775"/>
            <a:ext cx="3767400" cy="115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0" name="Google Shape;110;p22"/>
          <p:cNvSpPr txBox="1"/>
          <p:nvPr/>
        </p:nvSpPr>
        <p:spPr>
          <a:xfrm>
            <a:off x="246300" y="1176625"/>
            <a:ext cx="2269800" cy="36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GB"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nesta.org.uk</a:t>
            </a:r>
            <a:endParaRPr sz="1800" b="0" i="0" u="none" strike="noStrike" cap="none">
              <a:solidFill>
                <a:srgbClr val="0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111" name="Google Shape;111;p2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47900" y="1993450"/>
            <a:ext cx="228650" cy="190550"/>
          </a:xfrm>
          <a:prstGeom prst="rect">
            <a:avLst/>
          </a:prstGeom>
          <a:noFill/>
          <a:ln>
            <a:noFill/>
          </a:ln>
        </p:spPr>
      </p:pic>
      <p:sp>
        <p:nvSpPr>
          <p:cNvPr id="112" name="Google Shape;112;p22"/>
          <p:cNvSpPr txBox="1"/>
          <p:nvPr/>
        </p:nvSpPr>
        <p:spPr>
          <a:xfrm>
            <a:off x="576550" y="1866275"/>
            <a:ext cx="2269800" cy="36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GB"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@nesta_uk</a:t>
            </a:r>
            <a:endParaRPr sz="1800" b="0" i="0" u="none" strike="noStrike" cap="none">
              <a:solidFill>
                <a:srgbClr val="0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- Sea">
  <p:cSld name="TITLE_1"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4" name="Google Shape;114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8962" y="-10675"/>
            <a:ext cx="9181925" cy="5164849"/>
          </a:xfrm>
          <a:prstGeom prst="rect">
            <a:avLst/>
          </a:prstGeom>
          <a:noFill/>
          <a:ln>
            <a:noFill/>
          </a:ln>
        </p:spPr>
      </p:pic>
      <p:pic>
        <p:nvPicPr>
          <p:cNvPr id="115" name="Google Shape;115;p2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72875" y="792325"/>
            <a:ext cx="1343324" cy="361600"/>
          </a:xfrm>
          <a:prstGeom prst="rect">
            <a:avLst/>
          </a:prstGeom>
          <a:noFill/>
          <a:ln>
            <a:noFill/>
          </a:ln>
        </p:spPr>
      </p:pic>
      <p:sp>
        <p:nvSpPr>
          <p:cNvPr id="116" name="Google Shape;116;p23"/>
          <p:cNvSpPr txBox="1">
            <a:spLocks noGrp="1"/>
          </p:cNvSpPr>
          <p:nvPr>
            <p:ph type="title"/>
          </p:nvPr>
        </p:nvSpPr>
        <p:spPr>
          <a:xfrm>
            <a:off x="246300" y="1281300"/>
            <a:ext cx="7736700" cy="57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Arial"/>
              <a:buNone/>
              <a:defRPr sz="30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7" name="Google Shape;117;p23"/>
          <p:cNvSpPr txBox="1">
            <a:spLocks noGrp="1"/>
          </p:cNvSpPr>
          <p:nvPr>
            <p:ph type="subTitle" idx="1"/>
          </p:nvPr>
        </p:nvSpPr>
        <p:spPr>
          <a:xfrm>
            <a:off x="246300" y="1852800"/>
            <a:ext cx="7736700" cy="4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defRPr sz="1600" b="1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8" name="Google Shape;118;p23"/>
          <p:cNvSpPr txBox="1">
            <a:spLocks noGrp="1"/>
          </p:cNvSpPr>
          <p:nvPr>
            <p:ph type="subTitle" idx="2"/>
          </p:nvPr>
        </p:nvSpPr>
        <p:spPr>
          <a:xfrm>
            <a:off x="246300" y="2446350"/>
            <a:ext cx="2373900" cy="77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- Wood">
  <p:cSld name="TITLE_1_1_1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0" name="Google Shape;120;p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399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121" name="Google Shape;121;p24"/>
          <p:cNvSpPr txBox="1">
            <a:spLocks noGrp="1"/>
          </p:cNvSpPr>
          <p:nvPr>
            <p:ph type="title"/>
          </p:nvPr>
        </p:nvSpPr>
        <p:spPr>
          <a:xfrm>
            <a:off x="194475" y="1022125"/>
            <a:ext cx="7736700" cy="57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Arial"/>
              <a:buNone/>
              <a:defRPr sz="30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2" name="Google Shape;122;p24"/>
          <p:cNvSpPr txBox="1">
            <a:spLocks noGrp="1"/>
          </p:cNvSpPr>
          <p:nvPr>
            <p:ph type="subTitle" idx="1"/>
          </p:nvPr>
        </p:nvSpPr>
        <p:spPr>
          <a:xfrm>
            <a:off x="194475" y="1593625"/>
            <a:ext cx="7736700" cy="4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3" name="Google Shape;123;p24"/>
          <p:cNvSpPr txBox="1">
            <a:spLocks noGrp="1"/>
          </p:cNvSpPr>
          <p:nvPr>
            <p:ph type="subTitle" idx="2"/>
          </p:nvPr>
        </p:nvSpPr>
        <p:spPr>
          <a:xfrm>
            <a:off x="246300" y="2086625"/>
            <a:ext cx="2373900" cy="77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24" name="Google Shape;124;p2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23050" y="530928"/>
            <a:ext cx="1343325" cy="36679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- Yellow">
  <p:cSld name="TITLE_1_1_1_1"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" name="Google Shape;126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6"/>
            <a:ext cx="9144000" cy="5143505"/>
          </a:xfrm>
          <a:prstGeom prst="rect">
            <a:avLst/>
          </a:prstGeom>
          <a:noFill/>
          <a:ln>
            <a:noFill/>
          </a:ln>
        </p:spPr>
      </p:pic>
      <p:sp>
        <p:nvSpPr>
          <p:cNvPr id="127" name="Google Shape;127;p25"/>
          <p:cNvSpPr txBox="1">
            <a:spLocks noGrp="1"/>
          </p:cNvSpPr>
          <p:nvPr>
            <p:ph type="title"/>
          </p:nvPr>
        </p:nvSpPr>
        <p:spPr>
          <a:xfrm>
            <a:off x="194475" y="912175"/>
            <a:ext cx="8589000" cy="57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Arial"/>
              <a:buNone/>
              <a:defRPr sz="30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8" name="Google Shape;128;p25"/>
          <p:cNvSpPr txBox="1">
            <a:spLocks noGrp="1"/>
          </p:cNvSpPr>
          <p:nvPr>
            <p:ph type="subTitle" idx="1"/>
          </p:nvPr>
        </p:nvSpPr>
        <p:spPr>
          <a:xfrm>
            <a:off x="194475" y="1483675"/>
            <a:ext cx="8685900" cy="4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defRPr sz="1600" b="1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9" name="Google Shape;129;p25"/>
          <p:cNvSpPr txBox="1">
            <a:spLocks noGrp="1"/>
          </p:cNvSpPr>
          <p:nvPr>
            <p:ph type="subTitle" idx="2"/>
          </p:nvPr>
        </p:nvSpPr>
        <p:spPr>
          <a:xfrm>
            <a:off x="194475" y="1914475"/>
            <a:ext cx="2373900" cy="77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30" name="Google Shape;130;p2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6625" y="440625"/>
            <a:ext cx="1343324" cy="3616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- Orange">
  <p:cSld name="TITLE_1_1_1_1_1"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2" name="Google Shape;132;p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5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133" name="Google Shape;133;p26"/>
          <p:cNvSpPr txBox="1">
            <a:spLocks noGrp="1"/>
          </p:cNvSpPr>
          <p:nvPr>
            <p:ph type="title"/>
          </p:nvPr>
        </p:nvSpPr>
        <p:spPr>
          <a:xfrm>
            <a:off x="194475" y="988375"/>
            <a:ext cx="8589000" cy="57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Arial"/>
              <a:buNone/>
              <a:defRPr sz="30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4" name="Google Shape;134;p26"/>
          <p:cNvSpPr txBox="1">
            <a:spLocks noGrp="1"/>
          </p:cNvSpPr>
          <p:nvPr>
            <p:ph type="subTitle" idx="1"/>
          </p:nvPr>
        </p:nvSpPr>
        <p:spPr>
          <a:xfrm>
            <a:off x="194475" y="1559875"/>
            <a:ext cx="8685900" cy="4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5" name="Google Shape;135;p26"/>
          <p:cNvSpPr txBox="1">
            <a:spLocks noGrp="1"/>
          </p:cNvSpPr>
          <p:nvPr>
            <p:ph type="subTitle" idx="2"/>
          </p:nvPr>
        </p:nvSpPr>
        <p:spPr>
          <a:xfrm>
            <a:off x="194475" y="1990675"/>
            <a:ext cx="2373900" cy="77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36" name="Google Shape;136;p2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23050" y="545378"/>
            <a:ext cx="1343325" cy="36679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- Grey">
  <p:cSld name="TITLE_1_1_1_1_1_1"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8" name="Google Shape;138;p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5143497"/>
          </a:xfrm>
          <a:prstGeom prst="rect">
            <a:avLst/>
          </a:prstGeom>
          <a:noFill/>
          <a:ln>
            <a:noFill/>
          </a:ln>
        </p:spPr>
      </p:pic>
      <p:sp>
        <p:nvSpPr>
          <p:cNvPr id="139" name="Google Shape;139;p27"/>
          <p:cNvSpPr txBox="1">
            <a:spLocks noGrp="1"/>
          </p:cNvSpPr>
          <p:nvPr>
            <p:ph type="title"/>
          </p:nvPr>
        </p:nvSpPr>
        <p:spPr>
          <a:xfrm>
            <a:off x="194475" y="988375"/>
            <a:ext cx="8589000" cy="57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Arial"/>
              <a:buNone/>
              <a:defRPr sz="30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0" name="Google Shape;140;p27"/>
          <p:cNvSpPr txBox="1">
            <a:spLocks noGrp="1"/>
          </p:cNvSpPr>
          <p:nvPr>
            <p:ph type="subTitle" idx="1"/>
          </p:nvPr>
        </p:nvSpPr>
        <p:spPr>
          <a:xfrm>
            <a:off x="194475" y="1559875"/>
            <a:ext cx="8685900" cy="4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defRPr sz="1600" b="1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1" name="Google Shape;141;p27"/>
          <p:cNvSpPr txBox="1">
            <a:spLocks noGrp="1"/>
          </p:cNvSpPr>
          <p:nvPr>
            <p:ph type="subTitle" idx="2"/>
          </p:nvPr>
        </p:nvSpPr>
        <p:spPr>
          <a:xfrm>
            <a:off x="194475" y="1914475"/>
            <a:ext cx="2373900" cy="77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42" name="Google Shape;142;p2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23050" y="530928"/>
            <a:ext cx="1343325" cy="36679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roduction + Contents Orange">
  <p:cSld name="TITLE_1_1_1_1_1_1_1_1_1_1"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Google Shape;144;p28"/>
          <p:cNvSpPr/>
          <p:nvPr/>
        </p:nvSpPr>
        <p:spPr>
          <a:xfrm>
            <a:off x="4593300" y="0"/>
            <a:ext cx="4550700" cy="5143500"/>
          </a:xfrm>
          <a:prstGeom prst="rect">
            <a:avLst/>
          </a:prstGeom>
          <a:solidFill>
            <a:srgbClr val="FF5A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5" name="Google Shape;145;p28"/>
          <p:cNvSpPr txBox="1">
            <a:spLocks noGrp="1"/>
          </p:cNvSpPr>
          <p:nvPr>
            <p:ph type="subTitle" idx="1"/>
          </p:nvPr>
        </p:nvSpPr>
        <p:spPr>
          <a:xfrm>
            <a:off x="117850" y="89825"/>
            <a:ext cx="4313100" cy="4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46" name="Google Shape;146;p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17050" y="4813975"/>
            <a:ext cx="595602" cy="160325"/>
          </a:xfrm>
          <a:prstGeom prst="rect">
            <a:avLst/>
          </a:prstGeom>
          <a:noFill/>
          <a:ln>
            <a:noFill/>
          </a:ln>
        </p:spPr>
      </p:pic>
      <p:sp>
        <p:nvSpPr>
          <p:cNvPr id="147" name="Google Shape;147;p28"/>
          <p:cNvSpPr txBox="1">
            <a:spLocks noGrp="1"/>
          </p:cNvSpPr>
          <p:nvPr>
            <p:ph type="subTitle" idx="2"/>
          </p:nvPr>
        </p:nvSpPr>
        <p:spPr>
          <a:xfrm>
            <a:off x="4690425" y="89825"/>
            <a:ext cx="4313100" cy="4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8" name="Google Shape;148;p28"/>
          <p:cNvSpPr txBox="1">
            <a:spLocks noGrp="1"/>
          </p:cNvSpPr>
          <p:nvPr>
            <p:ph type="body" idx="3"/>
          </p:nvPr>
        </p:nvSpPr>
        <p:spPr>
          <a:xfrm>
            <a:off x="205425" y="640950"/>
            <a:ext cx="4125600" cy="405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●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○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■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●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○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743200" marR="0" lvl="5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■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3200400" marR="0" lvl="6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●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3657600" marR="0" lvl="7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○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4114800" marR="0" lvl="8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■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  <p:sp>
        <p:nvSpPr>
          <p:cNvPr id="149" name="Google Shape;149;p28"/>
          <p:cNvSpPr txBox="1">
            <a:spLocks noGrp="1"/>
          </p:cNvSpPr>
          <p:nvPr>
            <p:ph type="body" idx="4"/>
          </p:nvPr>
        </p:nvSpPr>
        <p:spPr>
          <a:xfrm>
            <a:off x="4742300" y="640950"/>
            <a:ext cx="4125600" cy="405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entury Gothic"/>
              <a:buChar char="●"/>
              <a:defRPr sz="1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entury Gothic"/>
              <a:buChar char="○"/>
              <a:defRPr sz="1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entury Gothic"/>
              <a:buChar char="■"/>
              <a:defRPr sz="1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entury Gothic"/>
              <a:buChar char="●"/>
              <a:defRPr sz="1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entury Gothic"/>
              <a:buChar char="○"/>
              <a:defRPr sz="1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743200" marR="0" lvl="5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entury Gothic"/>
              <a:buChar char="■"/>
              <a:defRPr sz="1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3200400" marR="0" lvl="6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entury Gothic"/>
              <a:buChar char="●"/>
              <a:defRPr sz="1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3657600" marR="0" lvl="7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entury Gothic"/>
              <a:buChar char="○"/>
              <a:defRPr sz="1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4114800" marR="0" lvl="8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entury Gothic"/>
              <a:buChar char="■"/>
              <a:defRPr sz="1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s Yellow">
  <p:cSld name="TITLE_1_1_1_1_1_1_1_1_1_1_1_1"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Google Shape;151;p29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FB81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2" name="Google Shape;152;p29"/>
          <p:cNvSpPr txBox="1">
            <a:spLocks noGrp="1"/>
          </p:cNvSpPr>
          <p:nvPr>
            <p:ph type="subTitle" idx="1"/>
          </p:nvPr>
        </p:nvSpPr>
        <p:spPr>
          <a:xfrm>
            <a:off x="117850" y="89825"/>
            <a:ext cx="8838600" cy="4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3" name="Google Shape;153;p29"/>
          <p:cNvSpPr txBox="1">
            <a:spLocks noGrp="1"/>
          </p:cNvSpPr>
          <p:nvPr>
            <p:ph type="body" idx="2"/>
          </p:nvPr>
        </p:nvSpPr>
        <p:spPr>
          <a:xfrm>
            <a:off x="117850" y="640200"/>
            <a:ext cx="8769000" cy="405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●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○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■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●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○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743200" marR="0" lvl="5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■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3200400" marR="0" lvl="6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●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3657600" marR="0" lvl="7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○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4114800" marR="0" lvl="8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■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  <p:pic>
        <p:nvPicPr>
          <p:cNvPr id="154" name="Google Shape;154;p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17050" y="4813975"/>
            <a:ext cx="595602" cy="1603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ullet list Grey">
  <p:cSld name="TITLE_1_1_1_1_1_1_1_1_1_1_1_1_1_1_1_1_1_1_1_1_1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/>
          <p:nvPr/>
        </p:nvSpPr>
        <p:spPr>
          <a:xfrm>
            <a:off x="4761000" y="0"/>
            <a:ext cx="4383000" cy="5143500"/>
          </a:xfrm>
          <a:prstGeom prst="rect">
            <a:avLst/>
          </a:prstGeom>
          <a:solidFill>
            <a:srgbClr val="A5948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" name="Google Shape;24;p5"/>
          <p:cNvSpPr txBox="1">
            <a:spLocks noGrp="1"/>
          </p:cNvSpPr>
          <p:nvPr>
            <p:ph type="body" idx="1"/>
          </p:nvPr>
        </p:nvSpPr>
        <p:spPr>
          <a:xfrm>
            <a:off x="137350" y="291475"/>
            <a:ext cx="4245600" cy="442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●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○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■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●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○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743200" marR="0" lvl="5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■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3200400" marR="0" lvl="6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●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3657600" marR="0" lvl="7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○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4114800" marR="0" lvl="8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■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  <p:pic>
        <p:nvPicPr>
          <p:cNvPr id="25" name="Google Shape;25;p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17050" y="4813975"/>
            <a:ext cx="595602" cy="160325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Google Shape;26;p5"/>
          <p:cNvSpPr txBox="1">
            <a:spLocks noGrp="1"/>
          </p:cNvSpPr>
          <p:nvPr>
            <p:ph type="body" idx="2"/>
          </p:nvPr>
        </p:nvSpPr>
        <p:spPr>
          <a:xfrm>
            <a:off x="4898400" y="245350"/>
            <a:ext cx="4099200" cy="446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●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○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■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●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○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743200" marR="0" lvl="5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■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3200400" marR="0" lvl="6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●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3657600" marR="0" lvl="7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○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4114800" marR="0" lvl="8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■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Orange">
  <p:cSld name="CUSTOM_5_1"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Google Shape;191;p36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F5A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92" name="Google Shape;192;p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05425" y="4816019"/>
            <a:ext cx="595602" cy="162631"/>
          </a:xfrm>
          <a:prstGeom prst="rect">
            <a:avLst/>
          </a:prstGeom>
          <a:noFill/>
          <a:ln>
            <a:noFill/>
          </a:ln>
        </p:spPr>
      </p:pic>
      <p:sp>
        <p:nvSpPr>
          <p:cNvPr id="193" name="Google Shape;193;p36"/>
          <p:cNvSpPr txBox="1">
            <a:spLocks noGrp="1"/>
          </p:cNvSpPr>
          <p:nvPr>
            <p:ph type="subTitle" idx="1"/>
          </p:nvPr>
        </p:nvSpPr>
        <p:spPr>
          <a:xfrm>
            <a:off x="137350" y="89800"/>
            <a:ext cx="4079100" cy="32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4" name="Google Shape;194;p36"/>
          <p:cNvSpPr txBox="1">
            <a:spLocks noGrp="1"/>
          </p:cNvSpPr>
          <p:nvPr>
            <p:ph type="body" idx="2"/>
          </p:nvPr>
        </p:nvSpPr>
        <p:spPr>
          <a:xfrm>
            <a:off x="137350" y="622050"/>
            <a:ext cx="8758800" cy="405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●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○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■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●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○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743200" marR="0" lvl="5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■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3200400" marR="0" lvl="6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●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3657600" marR="0" lvl="7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○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4114800" marR="0" lvl="8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■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Purple">
  <p:cSld name="CUSTOM_5_1_1_1_1"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Google Shape;201;p38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9B00C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02" name="Google Shape;202;p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05425" y="4816019"/>
            <a:ext cx="595602" cy="162631"/>
          </a:xfrm>
          <a:prstGeom prst="rect">
            <a:avLst/>
          </a:prstGeom>
          <a:noFill/>
          <a:ln>
            <a:noFill/>
          </a:ln>
        </p:spPr>
      </p:pic>
      <p:sp>
        <p:nvSpPr>
          <p:cNvPr id="203" name="Google Shape;203;p38"/>
          <p:cNvSpPr txBox="1">
            <a:spLocks noGrp="1"/>
          </p:cNvSpPr>
          <p:nvPr>
            <p:ph type="subTitle" idx="1"/>
          </p:nvPr>
        </p:nvSpPr>
        <p:spPr>
          <a:xfrm>
            <a:off x="137350" y="89800"/>
            <a:ext cx="4079100" cy="32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04" name="Google Shape;204;p38"/>
          <p:cNvSpPr txBox="1">
            <a:spLocks noGrp="1"/>
          </p:cNvSpPr>
          <p:nvPr>
            <p:ph type="body" idx="2"/>
          </p:nvPr>
        </p:nvSpPr>
        <p:spPr>
          <a:xfrm>
            <a:off x="137350" y="622050"/>
            <a:ext cx="8758800" cy="405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●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○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■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●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○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743200" marR="0" lvl="5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■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3200400" marR="0" lvl="6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●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3657600" marR="0" lvl="7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○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4114800" marR="0" lvl="8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■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 - Blur">
  <p:cSld name="CUSTOM_7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1" name="Google Shape;211;p40" descr="Blur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3990" cy="5143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12" name="Google Shape;212;p4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47900" y="781975"/>
            <a:ext cx="1343324" cy="361600"/>
          </a:xfrm>
          <a:prstGeom prst="rect">
            <a:avLst/>
          </a:prstGeom>
          <a:noFill/>
          <a:ln>
            <a:noFill/>
          </a:ln>
        </p:spPr>
      </p:pic>
      <p:sp>
        <p:nvSpPr>
          <p:cNvPr id="213" name="Google Shape;213;p40"/>
          <p:cNvSpPr txBox="1">
            <a:spLocks noGrp="1"/>
          </p:cNvSpPr>
          <p:nvPr>
            <p:ph type="subTitle" idx="1"/>
          </p:nvPr>
        </p:nvSpPr>
        <p:spPr>
          <a:xfrm>
            <a:off x="246300" y="2227775"/>
            <a:ext cx="3767400" cy="115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4" name="Google Shape;214;p40"/>
          <p:cNvSpPr txBox="1"/>
          <p:nvPr/>
        </p:nvSpPr>
        <p:spPr>
          <a:xfrm>
            <a:off x="246300" y="1176625"/>
            <a:ext cx="2269800" cy="36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GB"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nesta.org.uk</a:t>
            </a:r>
            <a:endParaRPr sz="1800" b="0" i="0" u="none" strike="noStrike" cap="none">
              <a:solidFill>
                <a:srgbClr val="0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215" name="Google Shape;215;p40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47900" y="1993450"/>
            <a:ext cx="228650" cy="190550"/>
          </a:xfrm>
          <a:prstGeom prst="rect">
            <a:avLst/>
          </a:prstGeom>
          <a:noFill/>
          <a:ln>
            <a:noFill/>
          </a:ln>
        </p:spPr>
      </p:pic>
      <p:sp>
        <p:nvSpPr>
          <p:cNvPr id="216" name="Google Shape;216;p40"/>
          <p:cNvSpPr txBox="1"/>
          <p:nvPr/>
        </p:nvSpPr>
        <p:spPr>
          <a:xfrm>
            <a:off x="576550" y="1866275"/>
            <a:ext cx="2269800" cy="36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GB"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@nesta_uk</a:t>
            </a:r>
            <a:endParaRPr sz="1800" b="0" i="0" u="none" strike="noStrike" cap="none">
              <a:solidFill>
                <a:srgbClr val="0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 - Straw">
  <p:cSld name="CUSTOM_7_1_1"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8" name="Google Shape;218;p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19" name="Google Shape;219;p4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47900" y="781975"/>
            <a:ext cx="1343324" cy="361600"/>
          </a:xfrm>
          <a:prstGeom prst="rect">
            <a:avLst/>
          </a:prstGeom>
          <a:noFill/>
          <a:ln>
            <a:noFill/>
          </a:ln>
        </p:spPr>
      </p:pic>
      <p:sp>
        <p:nvSpPr>
          <p:cNvPr id="220" name="Google Shape;220;p41"/>
          <p:cNvSpPr txBox="1">
            <a:spLocks noGrp="1"/>
          </p:cNvSpPr>
          <p:nvPr>
            <p:ph type="subTitle" idx="1"/>
          </p:nvPr>
        </p:nvSpPr>
        <p:spPr>
          <a:xfrm>
            <a:off x="246300" y="2227775"/>
            <a:ext cx="3767400" cy="115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1" name="Google Shape;221;p41"/>
          <p:cNvSpPr txBox="1"/>
          <p:nvPr/>
        </p:nvSpPr>
        <p:spPr>
          <a:xfrm>
            <a:off x="246300" y="1176625"/>
            <a:ext cx="2269800" cy="36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GB"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nesta.org.uk</a:t>
            </a:r>
            <a:endParaRPr sz="1800" b="0" i="0" u="none" strike="noStrike" cap="none">
              <a:solidFill>
                <a:srgbClr val="0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222" name="Google Shape;222;p4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47900" y="1993450"/>
            <a:ext cx="228650" cy="190550"/>
          </a:xfrm>
          <a:prstGeom prst="rect">
            <a:avLst/>
          </a:prstGeom>
          <a:noFill/>
          <a:ln>
            <a:noFill/>
          </a:ln>
        </p:spPr>
      </p:pic>
      <p:sp>
        <p:nvSpPr>
          <p:cNvPr id="223" name="Google Shape;223;p41"/>
          <p:cNvSpPr txBox="1"/>
          <p:nvPr/>
        </p:nvSpPr>
        <p:spPr>
          <a:xfrm>
            <a:off x="576550" y="1866275"/>
            <a:ext cx="2269800" cy="36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GB"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@nesta_uk</a:t>
            </a:r>
            <a:endParaRPr sz="1800" b="0" i="0" u="none" strike="noStrike" cap="none">
              <a:solidFill>
                <a:srgbClr val="0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 - Wood">
  <p:cSld name="CUSTOM_7_1_1_1">
    <p:spTree>
      <p:nvGrpSpPr>
        <p:cNvPr id="1" name="Shape 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" name="Google Shape;225;p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3990" cy="5143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26" name="Google Shape;226;p4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47900" y="776778"/>
            <a:ext cx="1343325" cy="366797"/>
          </a:xfrm>
          <a:prstGeom prst="rect">
            <a:avLst/>
          </a:prstGeom>
          <a:noFill/>
          <a:ln>
            <a:noFill/>
          </a:ln>
        </p:spPr>
      </p:pic>
      <p:sp>
        <p:nvSpPr>
          <p:cNvPr id="227" name="Google Shape;227;p42"/>
          <p:cNvSpPr txBox="1">
            <a:spLocks noGrp="1"/>
          </p:cNvSpPr>
          <p:nvPr>
            <p:ph type="subTitle" idx="1"/>
          </p:nvPr>
        </p:nvSpPr>
        <p:spPr>
          <a:xfrm>
            <a:off x="246300" y="2227775"/>
            <a:ext cx="3767400" cy="115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8" name="Google Shape;228;p42"/>
          <p:cNvSpPr txBox="1"/>
          <p:nvPr/>
        </p:nvSpPr>
        <p:spPr>
          <a:xfrm>
            <a:off x="246300" y="1176625"/>
            <a:ext cx="2269800" cy="36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GB" sz="1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nesta.org.uk</a:t>
            </a:r>
            <a:endParaRPr sz="1800" b="0" i="0" u="none" strike="noStrike" cap="none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29" name="Google Shape;229;p42"/>
          <p:cNvSpPr txBox="1"/>
          <p:nvPr/>
        </p:nvSpPr>
        <p:spPr>
          <a:xfrm>
            <a:off x="576550" y="1866275"/>
            <a:ext cx="2269800" cy="36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GB" sz="1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@nesta_uk</a:t>
            </a:r>
            <a:endParaRPr sz="1800" b="0" i="0" u="none" strike="noStrike" cap="none">
              <a:solidFill>
                <a:srgbClr val="FFFFFF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230" name="Google Shape;230;p4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47900" y="1997383"/>
            <a:ext cx="228650" cy="19054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 Slide - Plain">
  <p:cSld name="CUSTOM_8"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" name="Google Shape;232;p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514350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3" name="Google Shape;233;p4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47900" y="781975"/>
            <a:ext cx="1343324" cy="361600"/>
          </a:xfrm>
          <a:prstGeom prst="rect">
            <a:avLst/>
          </a:prstGeom>
          <a:noFill/>
          <a:ln>
            <a:noFill/>
          </a:ln>
        </p:spPr>
      </p:pic>
      <p:sp>
        <p:nvSpPr>
          <p:cNvPr id="234" name="Google Shape;234;p43"/>
          <p:cNvSpPr txBox="1">
            <a:spLocks noGrp="1"/>
          </p:cNvSpPr>
          <p:nvPr>
            <p:ph type="subTitle" idx="1"/>
          </p:nvPr>
        </p:nvSpPr>
        <p:spPr>
          <a:xfrm>
            <a:off x="246300" y="2227775"/>
            <a:ext cx="3767400" cy="115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35" name="Google Shape;235;p43"/>
          <p:cNvSpPr txBox="1"/>
          <p:nvPr/>
        </p:nvSpPr>
        <p:spPr>
          <a:xfrm>
            <a:off x="246300" y="1176625"/>
            <a:ext cx="2269800" cy="36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GB"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nesta.org.uk</a:t>
            </a:r>
            <a:endParaRPr sz="1800" b="0" i="0" u="none" strike="noStrike" cap="none">
              <a:solidFill>
                <a:srgbClr val="0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236" name="Google Shape;236;p43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47900" y="1993450"/>
            <a:ext cx="228650" cy="190550"/>
          </a:xfrm>
          <a:prstGeom prst="rect">
            <a:avLst/>
          </a:prstGeom>
          <a:noFill/>
          <a:ln>
            <a:noFill/>
          </a:ln>
        </p:spPr>
      </p:pic>
      <p:sp>
        <p:nvSpPr>
          <p:cNvPr id="237" name="Google Shape;237;p43"/>
          <p:cNvSpPr txBox="1"/>
          <p:nvPr/>
        </p:nvSpPr>
        <p:spPr>
          <a:xfrm>
            <a:off x="576550" y="1866275"/>
            <a:ext cx="2269800" cy="36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GB"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@nesta_uk</a:t>
            </a:r>
            <a:endParaRPr sz="1800" b="0" i="0" u="none" strike="noStrike" cap="none">
              <a:solidFill>
                <a:srgbClr val="0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00600" y="3468501"/>
            <a:ext cx="4038600" cy="700088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00600" y="4171950"/>
            <a:ext cx="4038600" cy="561415"/>
          </a:xfrm>
        </p:spPr>
        <p:txBody>
          <a:bodyPr>
            <a:normAutofit/>
          </a:bodyPr>
          <a:lstStyle>
            <a:lvl1pPr marL="0" indent="0" algn="l">
              <a:spcBef>
                <a:spcPts val="225"/>
              </a:spcBef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800600" y="4819230"/>
            <a:ext cx="1232647" cy="273844"/>
          </a:xfrm>
        </p:spPr>
        <p:txBody>
          <a:bodyPr/>
          <a:lstStyle>
            <a:lvl1pPr algn="l">
              <a:defRPr/>
            </a:lvl1pPr>
          </a:lstStyle>
          <a:p>
            <a:fld id="{519B846A-6DC9-7842-A191-50A4DED1B022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311153" y="4819230"/>
            <a:ext cx="2617694" cy="273844"/>
          </a:xfrm>
        </p:spPr>
        <p:txBody>
          <a:bodyPr/>
          <a:lstStyle>
            <a:lvl1pPr algn="r">
              <a:defRPr/>
            </a:lvl1pPr>
          </a:lstStyle>
          <a:p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282575" y="171450"/>
            <a:ext cx="4235450" cy="31409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  <p:sp>
        <p:nvSpPr>
          <p:cNvPr id="8" name="Rectangle 7"/>
          <p:cNvSpPr/>
          <p:nvPr/>
        </p:nvSpPr>
        <p:spPr>
          <a:xfrm>
            <a:off x="6802438" y="171450"/>
            <a:ext cx="2057400" cy="152933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  <p:sp>
        <p:nvSpPr>
          <p:cNvPr id="10" name="Rectangle 9"/>
          <p:cNvSpPr/>
          <p:nvPr/>
        </p:nvSpPr>
        <p:spPr>
          <a:xfrm>
            <a:off x="4624388" y="1783080"/>
            <a:ext cx="2057400" cy="152933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685800" rtl="0" eaLnBrk="1" latinLnBrk="0" hangingPunct="1"/>
            <a:endParaRPr sz="135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24892" y="131109"/>
            <a:ext cx="413309" cy="6232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405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624388" y="171450"/>
            <a:ext cx="2057400" cy="152933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  <p:sp>
        <p:nvSpPr>
          <p:cNvPr id="12" name="Rectangle 11"/>
          <p:cNvSpPr/>
          <p:nvPr/>
        </p:nvSpPr>
        <p:spPr>
          <a:xfrm>
            <a:off x="6802438" y="1783080"/>
            <a:ext cx="2057400" cy="152933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</p:spTree>
    <p:extLst>
      <p:ext uri="{BB962C8B-B14F-4D97-AF65-F5344CB8AC3E}">
        <p14:creationId xmlns:p14="http://schemas.microsoft.com/office/powerpoint/2010/main" val="20963141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8210551" y="211931"/>
            <a:ext cx="642097" cy="1200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9B846A-6DC9-7842-A191-50A4DED1B022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E4F8C-8F4A-8F4E-853F-1852D77326E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223186" y="171450"/>
            <a:ext cx="260909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27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10" name="Rectangle 9"/>
          <p:cNvSpPr/>
          <p:nvPr/>
        </p:nvSpPr>
        <p:spPr>
          <a:xfrm>
            <a:off x="8068235" y="211931"/>
            <a:ext cx="91440" cy="12001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</p:spTree>
    <p:extLst>
      <p:ext uri="{BB962C8B-B14F-4D97-AF65-F5344CB8AC3E}">
        <p14:creationId xmlns:p14="http://schemas.microsoft.com/office/powerpoint/2010/main" val="26767880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, Al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8166847" y="211931"/>
            <a:ext cx="685800" cy="1200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8475" y="100853"/>
            <a:ext cx="7556313" cy="746312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9B846A-6DC9-7842-A191-50A4DED1B022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E4F8C-8F4A-8F4E-853F-1852D77326E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223186" y="171450"/>
            <a:ext cx="260909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27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498518" y="847165"/>
            <a:ext cx="7558960" cy="581025"/>
          </a:xfrm>
        </p:spPr>
        <p:txBody>
          <a:bodyPr vert="horz" lIns="91440" tIns="45720" rIns="91440" bIns="45720" rtlCol="0" anchor="t" anchorCtr="0">
            <a:noAutofit/>
          </a:bodyPr>
          <a:lstStyle>
            <a:lvl1pPr marL="0" indent="0">
              <a:buNone/>
              <a:defRPr kumimoji="0" sz="1800" b="0" i="0" u="none" strike="noStrike" kern="1200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430752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00600" y="3468501"/>
            <a:ext cx="4038600" cy="700088"/>
          </a:xfrm>
        </p:spPr>
        <p:txBody>
          <a:bodyPr>
            <a:normAutofit/>
          </a:bodyPr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00600" y="4171950"/>
            <a:ext cx="4038600" cy="561415"/>
          </a:xfrm>
        </p:spPr>
        <p:txBody>
          <a:bodyPr>
            <a:normAutofit/>
          </a:bodyPr>
          <a:lstStyle>
            <a:lvl1pPr marL="0" indent="0" algn="l">
              <a:spcBef>
                <a:spcPts val="225"/>
              </a:spcBef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800600" y="4819230"/>
            <a:ext cx="1232647" cy="273844"/>
          </a:xfrm>
        </p:spPr>
        <p:txBody>
          <a:bodyPr/>
          <a:lstStyle>
            <a:lvl1pPr algn="l">
              <a:defRPr/>
            </a:lvl1pPr>
          </a:lstStyle>
          <a:p>
            <a:fld id="{519B846A-6DC9-7842-A191-50A4DED1B022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311153" y="4819230"/>
            <a:ext cx="2617694" cy="273844"/>
          </a:xfrm>
        </p:spPr>
        <p:txBody>
          <a:bodyPr/>
          <a:lstStyle>
            <a:lvl1pPr algn="r">
              <a:defRPr/>
            </a:lvl1pPr>
          </a:lstStyle>
          <a:p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282575" y="171450"/>
            <a:ext cx="4235450" cy="31409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  <p:sp>
        <p:nvSpPr>
          <p:cNvPr id="8" name="Rectangle 7"/>
          <p:cNvSpPr/>
          <p:nvPr/>
        </p:nvSpPr>
        <p:spPr>
          <a:xfrm>
            <a:off x="6802438" y="171450"/>
            <a:ext cx="2057400" cy="152933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  <p:sp>
        <p:nvSpPr>
          <p:cNvPr id="10" name="Rectangle 9"/>
          <p:cNvSpPr/>
          <p:nvPr/>
        </p:nvSpPr>
        <p:spPr>
          <a:xfrm>
            <a:off x="4624388" y="1783080"/>
            <a:ext cx="2057400" cy="152933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4624388" y="171450"/>
            <a:ext cx="2057400" cy="1529334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Drag picture to placeholder or click icon to add</a:t>
            </a:r>
            <a:endParaRPr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6802438" y="1783080"/>
            <a:ext cx="2057400" cy="1529334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Drag picture to placeholder or click icon to add</a:t>
            </a:r>
            <a:endParaRPr/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/>
          </p:nvPr>
        </p:nvSpPr>
        <p:spPr>
          <a:xfrm>
            <a:off x="857250" y="1334621"/>
            <a:ext cx="3086100" cy="1530679"/>
          </a:xfrm>
        </p:spPr>
        <p:txBody>
          <a:bodyPr lIns="45720" tIns="45720" rIns="45720" anchor="t">
            <a:noAutofit/>
          </a:bodyPr>
          <a:lstStyle>
            <a:lvl1pPr marL="0" indent="0" algn="ctr">
              <a:spcBef>
                <a:spcPts val="450"/>
              </a:spcBef>
              <a:buNone/>
              <a:defRPr sz="345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750"/>
            </a:lvl3pPr>
            <a:lvl4pPr>
              <a:defRPr sz="675"/>
            </a:lvl4pPr>
            <a:lvl5pPr>
              <a:defRPr sz="675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24892" y="131109"/>
            <a:ext cx="413309" cy="6232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405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6559680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Red">
  <p:cSld name="CUSTOM_5_1_1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6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F004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9" name="Google Shape;29;p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05425" y="4816019"/>
            <a:ext cx="595602" cy="162631"/>
          </a:xfrm>
          <a:prstGeom prst="rect">
            <a:avLst/>
          </a:prstGeom>
          <a:noFill/>
          <a:ln>
            <a:noFill/>
          </a:ln>
        </p:spPr>
      </p:pic>
      <p:sp>
        <p:nvSpPr>
          <p:cNvPr id="30" name="Google Shape;30;p6"/>
          <p:cNvSpPr txBox="1">
            <a:spLocks noGrp="1"/>
          </p:cNvSpPr>
          <p:nvPr>
            <p:ph type="subTitle" idx="1"/>
          </p:nvPr>
        </p:nvSpPr>
        <p:spPr>
          <a:xfrm>
            <a:off x="137350" y="89800"/>
            <a:ext cx="4079100" cy="32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1" name="Google Shape;31;p6"/>
          <p:cNvSpPr txBox="1">
            <a:spLocks noGrp="1"/>
          </p:cNvSpPr>
          <p:nvPr>
            <p:ph type="body" idx="2"/>
          </p:nvPr>
        </p:nvSpPr>
        <p:spPr>
          <a:xfrm>
            <a:off x="137350" y="622050"/>
            <a:ext cx="8758800" cy="405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●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○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■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●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○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743200" marR="0" lvl="5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■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3200400" marR="0" lvl="6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●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3657600" marR="0" lvl="7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○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4114800" marR="0" lvl="8" indent="-5334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entury Gothic"/>
              <a:buChar char="■"/>
              <a:defRPr sz="4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658907" y="171450"/>
            <a:ext cx="8200930" cy="47589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0" y="2343151"/>
            <a:ext cx="5638800" cy="1021556"/>
          </a:xfrm>
        </p:spPr>
        <p:txBody>
          <a:bodyPr anchor="b" anchorCtr="0">
            <a:normAutofit/>
          </a:bodyPr>
          <a:lstStyle>
            <a:lvl1pPr algn="l">
              <a:defRPr sz="24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6000" y="3371851"/>
            <a:ext cx="5638800" cy="112514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225"/>
              </a:spcBef>
              <a:buNone/>
              <a:defRPr sz="1050" cap="none" baseline="0">
                <a:solidFill>
                  <a:schemeClr val="bg1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8906" y="4686581"/>
            <a:ext cx="1474694" cy="273844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519B846A-6DC9-7842-A191-50A4DED1B022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86000" y="4686581"/>
            <a:ext cx="5638800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05800" y="4686581"/>
            <a:ext cx="554038" cy="273844"/>
          </a:xfrm>
        </p:spPr>
        <p:txBody>
          <a:bodyPr/>
          <a:lstStyle/>
          <a:p>
            <a:fld id="{BA9E4F8C-8F4A-8F4E-853F-1852D77326EB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2003613" y="2333066"/>
            <a:ext cx="260909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30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9" name="Rectangle 8"/>
          <p:cNvSpPr/>
          <p:nvPr/>
        </p:nvSpPr>
        <p:spPr>
          <a:xfrm>
            <a:off x="285751" y="171450"/>
            <a:ext cx="212725" cy="475892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</p:spTree>
    <p:extLst>
      <p:ext uri="{BB962C8B-B14F-4D97-AF65-F5344CB8AC3E}">
        <p14:creationId xmlns:p14="http://schemas.microsoft.com/office/powerpoint/2010/main" val="27308781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8210551" y="211931"/>
            <a:ext cx="642097" cy="1200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  <p:sp>
        <p:nvSpPr>
          <p:cNvPr id="12" name="Rectangle 11"/>
          <p:cNvSpPr/>
          <p:nvPr/>
        </p:nvSpPr>
        <p:spPr>
          <a:xfrm>
            <a:off x="8068235" y="211931"/>
            <a:ext cx="91440" cy="12001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  <p:sp>
        <p:nvSpPr>
          <p:cNvPr id="10" name="TextBox 9"/>
          <p:cNvSpPr txBox="1"/>
          <p:nvPr/>
        </p:nvSpPr>
        <p:spPr>
          <a:xfrm>
            <a:off x="223186" y="171450"/>
            <a:ext cx="260909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27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8518" y="1489472"/>
            <a:ext cx="3657600" cy="310515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99878" y="1489472"/>
            <a:ext cx="3657600" cy="310515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9B846A-6DC9-7842-A191-50A4DED1B022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E4F8C-8F4A-8F4E-853F-1852D77326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60849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8166847" y="211931"/>
            <a:ext cx="685800" cy="1200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  <p:sp>
        <p:nvSpPr>
          <p:cNvPr id="12" name="TextBox 11"/>
          <p:cNvSpPr txBox="1"/>
          <p:nvPr/>
        </p:nvSpPr>
        <p:spPr>
          <a:xfrm>
            <a:off x="223186" y="171450"/>
            <a:ext cx="260909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27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7541" y="1835524"/>
            <a:ext cx="3657600" cy="2759098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399878" y="1835524"/>
            <a:ext cx="3657600" cy="2759098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9B846A-6DC9-7842-A191-50A4DED1B022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E4F8C-8F4A-8F4E-853F-1852D77326EB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7541" y="1553136"/>
            <a:ext cx="3657600" cy="242047"/>
          </a:xfrm>
          <a:prstGeom prst="rect">
            <a:avLst/>
          </a:prstGeom>
          <a:solidFill>
            <a:schemeClr val="accent3"/>
          </a:solidFill>
        </p:spPr>
        <p:txBody>
          <a:bodyPr tIns="0" bIns="0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350" b="0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399878" y="1553136"/>
            <a:ext cx="3657600" cy="24204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tIns="0" bIns="0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350" b="0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40025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, Top and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23186" y="171450"/>
            <a:ext cx="260909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27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8518" y="1489472"/>
            <a:ext cx="7569157" cy="147447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9B846A-6DC9-7842-A191-50A4DED1B022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Content Placeholder 2"/>
          <p:cNvSpPr>
            <a:spLocks noGrp="1"/>
          </p:cNvSpPr>
          <p:nvPr>
            <p:ph sz="half" idx="14"/>
          </p:nvPr>
        </p:nvSpPr>
        <p:spPr>
          <a:xfrm>
            <a:off x="498518" y="3123724"/>
            <a:ext cx="7569157" cy="147447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Rectangle 13"/>
          <p:cNvSpPr/>
          <p:nvPr/>
        </p:nvSpPr>
        <p:spPr>
          <a:xfrm>
            <a:off x="8166847" y="211931"/>
            <a:ext cx="685800" cy="1200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  <p:sp>
        <p:nvSpPr>
          <p:cNvPr id="15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305800" y="181676"/>
            <a:ext cx="554038" cy="273844"/>
          </a:xfrm>
        </p:spPr>
        <p:txBody>
          <a:bodyPr/>
          <a:lstStyle/>
          <a:p>
            <a:fld id="{BA9E4F8C-8F4A-8F4E-853F-1852D77326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773500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8166847" y="211931"/>
            <a:ext cx="685800" cy="1200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  <p:sp>
        <p:nvSpPr>
          <p:cNvPr id="10" name="TextBox 9"/>
          <p:cNvSpPr txBox="1"/>
          <p:nvPr/>
        </p:nvSpPr>
        <p:spPr>
          <a:xfrm>
            <a:off x="223186" y="171450"/>
            <a:ext cx="260909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27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10075" y="1489472"/>
            <a:ext cx="3657600" cy="147447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9B846A-6DC9-7842-A191-50A4DED1B022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E4F8C-8F4A-8F4E-853F-1852D77326EB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2"/>
          <p:cNvSpPr>
            <a:spLocks noGrp="1"/>
          </p:cNvSpPr>
          <p:nvPr>
            <p:ph sz="half" idx="15"/>
          </p:nvPr>
        </p:nvSpPr>
        <p:spPr>
          <a:xfrm>
            <a:off x="498518" y="1489472"/>
            <a:ext cx="3657600" cy="310515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6"/>
          </p:nvPr>
        </p:nvSpPr>
        <p:spPr>
          <a:xfrm>
            <a:off x="4410075" y="3127248"/>
            <a:ext cx="3657600" cy="147447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383815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8166847" y="211931"/>
            <a:ext cx="685800" cy="1200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  <p:sp>
        <p:nvSpPr>
          <p:cNvPr id="10" name="TextBox 9"/>
          <p:cNvSpPr txBox="1"/>
          <p:nvPr/>
        </p:nvSpPr>
        <p:spPr>
          <a:xfrm>
            <a:off x="223186" y="171450"/>
            <a:ext cx="260909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27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9B846A-6DC9-7842-A191-50A4DED1B022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E4F8C-8F4A-8F4E-853F-1852D77326EB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2"/>
          <p:cNvSpPr>
            <a:spLocks noGrp="1"/>
          </p:cNvSpPr>
          <p:nvPr>
            <p:ph sz="half" idx="17"/>
          </p:nvPr>
        </p:nvSpPr>
        <p:spPr>
          <a:xfrm>
            <a:off x="502921" y="1489472"/>
            <a:ext cx="3657413" cy="147447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8"/>
          </p:nvPr>
        </p:nvSpPr>
        <p:spPr>
          <a:xfrm>
            <a:off x="502921" y="3123724"/>
            <a:ext cx="3657413" cy="147447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"/>
          </p:nvPr>
        </p:nvSpPr>
        <p:spPr>
          <a:xfrm>
            <a:off x="4410075" y="1489472"/>
            <a:ext cx="3657600" cy="147447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6" name="Content Placeholder 2"/>
          <p:cNvSpPr>
            <a:spLocks noGrp="1"/>
          </p:cNvSpPr>
          <p:nvPr>
            <p:ph sz="half" idx="16"/>
          </p:nvPr>
        </p:nvSpPr>
        <p:spPr>
          <a:xfrm>
            <a:off x="4410075" y="3127248"/>
            <a:ext cx="3657600" cy="147447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8508156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8166847" y="211931"/>
            <a:ext cx="685800" cy="1200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  <p:sp>
        <p:nvSpPr>
          <p:cNvPr id="8" name="TextBox 7"/>
          <p:cNvSpPr txBox="1"/>
          <p:nvPr/>
        </p:nvSpPr>
        <p:spPr>
          <a:xfrm>
            <a:off x="223186" y="171450"/>
            <a:ext cx="260909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27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9B846A-6DC9-7842-A191-50A4DED1B022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E4F8C-8F4A-8F4E-853F-1852D77326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06236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8166847" y="211930"/>
            <a:ext cx="685800" cy="2266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9B846A-6DC9-7842-A191-50A4DED1B022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E4F8C-8F4A-8F4E-853F-1852D77326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167776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282576" y="171450"/>
            <a:ext cx="3451225" cy="47589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0555" y="1928812"/>
            <a:ext cx="3255264" cy="871538"/>
          </a:xfrm>
        </p:spPr>
        <p:txBody>
          <a:bodyPr anchor="b">
            <a:normAutofit/>
          </a:bodyPr>
          <a:lstStyle>
            <a:lvl1pPr algn="l">
              <a:defRPr sz="195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68776" y="204788"/>
            <a:ext cx="4597399" cy="4389835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1093" y="2800351"/>
            <a:ext cx="3255264" cy="1794272"/>
          </a:xfrm>
        </p:spPr>
        <p:txBody>
          <a:bodyPr/>
          <a:lstStyle>
            <a:lvl1pPr marL="0" indent="0">
              <a:spcBef>
                <a:spcPts val="450"/>
              </a:spcBef>
              <a:buNone/>
              <a:defRPr sz="1050">
                <a:solidFill>
                  <a:schemeClr val="bg1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391399" y="4817689"/>
            <a:ext cx="1537447" cy="273844"/>
          </a:xfrm>
        </p:spPr>
        <p:txBody>
          <a:bodyPr/>
          <a:lstStyle/>
          <a:p>
            <a:fld id="{519B846A-6DC9-7842-A191-50A4DED1B022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859306" y="4817689"/>
            <a:ext cx="3316941" cy="273844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424892" y="131109"/>
            <a:ext cx="413309" cy="6232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405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16244437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8166847" y="211930"/>
            <a:ext cx="685800" cy="2266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69404" y="2343150"/>
            <a:ext cx="3898272" cy="653654"/>
          </a:xfrm>
        </p:spPr>
        <p:txBody>
          <a:bodyPr anchor="b">
            <a:normAutofit/>
          </a:bodyPr>
          <a:lstStyle>
            <a:lvl1pPr algn="l">
              <a:defRPr sz="1950" b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77906" y="171450"/>
            <a:ext cx="3460658" cy="475892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Drag picture to placeholder or click icon to add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69404" y="2996803"/>
            <a:ext cx="3898272" cy="1610916"/>
          </a:xfrm>
        </p:spPr>
        <p:txBody>
          <a:bodyPr/>
          <a:lstStyle>
            <a:lvl1pPr marL="0" indent="0">
              <a:spcBef>
                <a:spcPts val="450"/>
              </a:spcBef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391399" y="4817689"/>
            <a:ext cx="1537447" cy="273844"/>
          </a:xfrm>
        </p:spPr>
        <p:txBody>
          <a:bodyPr/>
          <a:lstStyle/>
          <a:p>
            <a:fld id="{519B846A-6DC9-7842-A191-50A4DED1B022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91000" y="4817689"/>
            <a:ext cx="3005138" cy="273844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E4F8C-8F4A-8F4E-853F-1852D77326EB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3990110" y="2528048"/>
            <a:ext cx="2205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1800" b="1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+ </a:t>
            </a:r>
          </a:p>
        </p:txBody>
      </p:sp>
    </p:spTree>
    <p:extLst>
      <p:ext uri="{BB962C8B-B14F-4D97-AF65-F5344CB8AC3E}">
        <p14:creationId xmlns:p14="http://schemas.microsoft.com/office/powerpoint/2010/main" val="31019894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Grey Layout">
  <p:cSld name="CUSTOM_2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7"/>
          <p:cNvSpPr/>
          <p:nvPr/>
        </p:nvSpPr>
        <p:spPr>
          <a:xfrm>
            <a:off x="0" y="0"/>
            <a:ext cx="4383000" cy="5143500"/>
          </a:xfrm>
          <a:prstGeom prst="rect">
            <a:avLst/>
          </a:prstGeom>
          <a:solidFill>
            <a:srgbClr val="A5948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4" name="Google Shape;34;p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05425" y="4816019"/>
            <a:ext cx="595602" cy="162631"/>
          </a:xfrm>
          <a:prstGeom prst="rect">
            <a:avLst/>
          </a:prstGeom>
          <a:noFill/>
          <a:ln>
            <a:noFill/>
          </a:ln>
        </p:spPr>
      </p:pic>
      <p:sp>
        <p:nvSpPr>
          <p:cNvPr id="35" name="Google Shape;35;p7"/>
          <p:cNvSpPr txBox="1">
            <a:spLocks noGrp="1"/>
          </p:cNvSpPr>
          <p:nvPr>
            <p:ph type="subTitle" idx="1"/>
          </p:nvPr>
        </p:nvSpPr>
        <p:spPr>
          <a:xfrm>
            <a:off x="111850" y="96925"/>
            <a:ext cx="4079100" cy="32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6" name="Google Shape;36;p7"/>
          <p:cNvSpPr txBox="1">
            <a:spLocks noGrp="1"/>
          </p:cNvSpPr>
          <p:nvPr>
            <p:ph type="body" idx="2"/>
          </p:nvPr>
        </p:nvSpPr>
        <p:spPr>
          <a:xfrm>
            <a:off x="86250" y="622050"/>
            <a:ext cx="4028100" cy="216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entury Gothic"/>
              <a:buChar char="●"/>
              <a:defRPr sz="1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entury Gothic"/>
              <a:buChar char="○"/>
              <a:defRPr sz="1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entury Gothic"/>
              <a:buChar char="■"/>
              <a:defRPr sz="1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entury Gothic"/>
              <a:buChar char="●"/>
              <a:defRPr sz="1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entury Gothic"/>
              <a:buChar char="○"/>
              <a:defRPr sz="1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743200" marR="0" lvl="5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entury Gothic"/>
              <a:buChar char="■"/>
              <a:defRPr sz="1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3200400" marR="0" lvl="6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entury Gothic"/>
              <a:buChar char="●"/>
              <a:defRPr sz="1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3657600" marR="0" lvl="7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entury Gothic"/>
              <a:buChar char="○"/>
              <a:defRPr sz="1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4114800" marR="0" lvl="8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entury Gothic"/>
              <a:buChar char="■"/>
              <a:defRPr sz="18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  <p:sp>
        <p:nvSpPr>
          <p:cNvPr id="37" name="Google Shape;37;p7"/>
          <p:cNvSpPr txBox="1">
            <a:spLocks noGrp="1"/>
          </p:cNvSpPr>
          <p:nvPr>
            <p:ph type="subTitle" idx="3"/>
          </p:nvPr>
        </p:nvSpPr>
        <p:spPr>
          <a:xfrm>
            <a:off x="86250" y="2783550"/>
            <a:ext cx="4079100" cy="28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abov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6506" y="3318061"/>
            <a:ext cx="6191157" cy="625289"/>
          </a:xfrm>
        </p:spPr>
        <p:txBody>
          <a:bodyPr anchor="b">
            <a:normAutofit/>
          </a:bodyPr>
          <a:lstStyle>
            <a:lvl1pPr algn="l">
              <a:defRPr sz="1950" b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77906" y="171450"/>
            <a:ext cx="6378389" cy="3140964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Drag picture to placeholder or click icon to add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6506" y="3943350"/>
            <a:ext cx="6191157" cy="664369"/>
          </a:xfrm>
        </p:spPr>
        <p:txBody>
          <a:bodyPr/>
          <a:lstStyle>
            <a:lvl1pPr marL="0" indent="0">
              <a:spcBef>
                <a:spcPts val="225"/>
              </a:spcBef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9B846A-6DC9-7842-A191-50A4DED1B022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E4F8C-8F4A-8F4E-853F-1852D77326EB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6802438" y="171450"/>
            <a:ext cx="2057400" cy="152933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  <p:sp>
        <p:nvSpPr>
          <p:cNvPr id="9" name="Rectangle 8"/>
          <p:cNvSpPr/>
          <p:nvPr/>
        </p:nvSpPr>
        <p:spPr>
          <a:xfrm>
            <a:off x="6802438" y="1783080"/>
            <a:ext cx="2057400" cy="15293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  <p:sp>
        <p:nvSpPr>
          <p:cNvPr id="10" name="TextBox 9"/>
          <p:cNvSpPr txBox="1"/>
          <p:nvPr/>
        </p:nvSpPr>
        <p:spPr>
          <a:xfrm>
            <a:off x="327212" y="3474595"/>
            <a:ext cx="2205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1800" b="1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+ </a:t>
            </a:r>
          </a:p>
        </p:txBody>
      </p:sp>
    </p:spTree>
    <p:extLst>
      <p:ext uri="{BB962C8B-B14F-4D97-AF65-F5344CB8AC3E}">
        <p14:creationId xmlns:p14="http://schemas.microsoft.com/office/powerpoint/2010/main" val="146202183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ictures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282575" y="171450"/>
            <a:ext cx="6387167" cy="47589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0555" y="1928812"/>
            <a:ext cx="6181611" cy="871538"/>
          </a:xfrm>
        </p:spPr>
        <p:txBody>
          <a:bodyPr anchor="b">
            <a:normAutofit/>
          </a:bodyPr>
          <a:lstStyle>
            <a:lvl1pPr algn="l">
              <a:defRPr sz="195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1094" y="2800351"/>
            <a:ext cx="6179566" cy="1794272"/>
          </a:xfrm>
        </p:spPr>
        <p:txBody>
          <a:bodyPr/>
          <a:lstStyle>
            <a:lvl1pPr marL="0" indent="0">
              <a:spcBef>
                <a:spcPts val="450"/>
              </a:spcBef>
              <a:buNone/>
              <a:defRPr sz="1050">
                <a:solidFill>
                  <a:schemeClr val="bg1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212262" y="4676706"/>
            <a:ext cx="1348398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9B846A-6DC9-7842-A191-50A4DED1B022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81096" y="4676706"/>
            <a:ext cx="4648105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E4F8C-8F4A-8F4E-853F-1852D77326E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424892" y="131109"/>
            <a:ext cx="413309" cy="6232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405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10" name="Rectangle 9"/>
          <p:cNvSpPr/>
          <p:nvPr/>
        </p:nvSpPr>
        <p:spPr>
          <a:xfrm>
            <a:off x="6802438" y="171450"/>
            <a:ext cx="2057400" cy="152933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6802438" y="1781205"/>
            <a:ext cx="2057400" cy="1529334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Drag picture to placeholder or click icon to add</a:t>
            </a:r>
            <a:endParaRPr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6802438" y="3401568"/>
            <a:ext cx="2057400" cy="1529334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Drag picture to placeholder or click icon to add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97771811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s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282575" y="171450"/>
            <a:ext cx="4235450" cy="47589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0554" y="1928812"/>
            <a:ext cx="4016633" cy="871538"/>
          </a:xfrm>
        </p:spPr>
        <p:txBody>
          <a:bodyPr anchor="b">
            <a:normAutofit/>
          </a:bodyPr>
          <a:lstStyle>
            <a:lvl1pPr algn="l">
              <a:defRPr sz="195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1094" y="2800351"/>
            <a:ext cx="4015304" cy="1794272"/>
          </a:xfrm>
        </p:spPr>
        <p:txBody>
          <a:bodyPr/>
          <a:lstStyle>
            <a:lvl1pPr marL="0" indent="0">
              <a:spcBef>
                <a:spcPts val="450"/>
              </a:spcBef>
              <a:buNone/>
              <a:defRPr sz="1050">
                <a:solidFill>
                  <a:schemeClr val="bg1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048000" y="4676706"/>
            <a:ext cx="1348398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9B846A-6DC9-7842-A191-50A4DED1B022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81096" y="4676706"/>
            <a:ext cx="2590705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E4F8C-8F4A-8F4E-853F-1852D77326E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424892" y="131109"/>
            <a:ext cx="413309" cy="6232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405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10" name="Rectangle 9"/>
          <p:cNvSpPr/>
          <p:nvPr/>
        </p:nvSpPr>
        <p:spPr>
          <a:xfrm>
            <a:off x="6802438" y="171450"/>
            <a:ext cx="2057400" cy="152933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  <p:sp>
        <p:nvSpPr>
          <p:cNvPr id="11" name="Rectangle 10"/>
          <p:cNvSpPr/>
          <p:nvPr/>
        </p:nvSpPr>
        <p:spPr>
          <a:xfrm>
            <a:off x="4624388" y="3401045"/>
            <a:ext cx="2057400" cy="152933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4624388" y="171450"/>
            <a:ext cx="2057400" cy="1529334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Drag picture to placeholder or click icon to add</a:t>
            </a:r>
            <a:endParaRPr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4624388" y="1786247"/>
            <a:ext cx="2057400" cy="1529334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Drag picture to placeholder or click icon to add</a:t>
            </a:r>
            <a:endParaRPr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6803136" y="1786247"/>
            <a:ext cx="2057400" cy="3140964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Drag picture to placeholder or click icon to add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5485370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s with Caption, Al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8166847" y="211930"/>
            <a:ext cx="685800" cy="2266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0" y="2343150"/>
            <a:ext cx="3108960" cy="653654"/>
          </a:xfrm>
        </p:spPr>
        <p:txBody>
          <a:bodyPr anchor="b">
            <a:normAutofit/>
          </a:bodyPr>
          <a:lstStyle>
            <a:lvl1pPr algn="l">
              <a:defRPr sz="1950" b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77906" y="1773936"/>
            <a:ext cx="4240119" cy="3140964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Drag picture to placeholder or click icon to add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0" y="2996803"/>
            <a:ext cx="3108960" cy="1610916"/>
          </a:xfrm>
        </p:spPr>
        <p:txBody>
          <a:bodyPr/>
          <a:lstStyle>
            <a:lvl1pPr marL="0" indent="0">
              <a:spcBef>
                <a:spcPts val="450"/>
              </a:spcBef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391399" y="4817689"/>
            <a:ext cx="1537447" cy="273844"/>
          </a:xfrm>
        </p:spPr>
        <p:txBody>
          <a:bodyPr/>
          <a:lstStyle/>
          <a:p>
            <a:fld id="{519B846A-6DC9-7842-A191-50A4DED1B022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91000" y="4817689"/>
            <a:ext cx="3005138" cy="273844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E4F8C-8F4A-8F4E-853F-1852D77326EB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4750361" y="2528048"/>
            <a:ext cx="2205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1800" b="1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+ </a:t>
            </a:r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277905" y="171450"/>
            <a:ext cx="2057400" cy="1529334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Drag picture to placeholder or click icon to add</a:t>
            </a:r>
            <a:endParaRPr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2460625" y="171450"/>
            <a:ext cx="2057400" cy="1529334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Drag picture to placeholder or click icon to add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1011556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8166847" y="211931"/>
            <a:ext cx="685800" cy="1200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  <p:sp>
        <p:nvSpPr>
          <p:cNvPr id="9" name="TextBox 8"/>
          <p:cNvSpPr txBox="1"/>
          <p:nvPr/>
        </p:nvSpPr>
        <p:spPr>
          <a:xfrm>
            <a:off x="223186" y="171450"/>
            <a:ext cx="260909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27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9B846A-6DC9-7842-A191-50A4DED1B022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E4F8C-8F4A-8F4E-853F-1852D77326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617480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8166847" y="211930"/>
            <a:ext cx="685800" cy="2266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sz="1050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95772" y="716056"/>
            <a:ext cx="681318" cy="3878567"/>
          </a:xfrm>
        </p:spPr>
        <p:txBody>
          <a:bodyPr vert="eaVert" anchor="t" anchorCtr="0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719067"/>
            <a:ext cx="6858000" cy="3888652"/>
          </a:xfrm>
        </p:spPr>
        <p:txBody>
          <a:bodyPr vert="eaVert"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9B846A-6DC9-7842-A191-50A4DED1B022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E4F8C-8F4A-8F4E-853F-1852D77326E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 rot="16200000">
            <a:off x="8625725" y="421251"/>
            <a:ext cx="195682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27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357941287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6896D4-FB22-4D7F-AC92-1AB444A633D7}" type="datetimeFigureOut">
              <a:rPr lang="en-US" smtClean="0"/>
              <a:t>11/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0DFB80-4EDC-44A0-8B6C-27FDDED432B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818442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6896D4-FB22-4D7F-AC92-1AB444A633D7}" type="datetimeFigureOut">
              <a:rPr lang="en-US" smtClean="0"/>
              <a:t>11/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0DFB80-4EDC-44A0-8B6C-27FDDED432B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98848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6896D4-FB22-4D7F-AC92-1AB444A633D7}" type="datetimeFigureOut">
              <a:rPr lang="en-US" smtClean="0"/>
              <a:t>11/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0DFB80-4EDC-44A0-8B6C-27FDDED432B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8226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6896D4-FB22-4D7F-AC92-1AB444A633D7}" type="datetimeFigureOut">
              <a:rPr lang="en-US" smtClean="0"/>
              <a:t>11/4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0DFB80-4EDC-44A0-8B6C-27FDDED432B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1381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- Blur" type="title">
  <p:cSld name="TITLE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oogle Shape;44;p9" descr="Blur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3990" cy="5143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5" name="Google Shape;45;p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62500" y="781975"/>
            <a:ext cx="1343324" cy="361600"/>
          </a:xfrm>
          <a:prstGeom prst="rect">
            <a:avLst/>
          </a:prstGeom>
          <a:noFill/>
          <a:ln>
            <a:noFill/>
          </a:ln>
        </p:spPr>
      </p:pic>
      <p:sp>
        <p:nvSpPr>
          <p:cNvPr id="46" name="Google Shape;46;p9"/>
          <p:cNvSpPr txBox="1">
            <a:spLocks noGrp="1"/>
          </p:cNvSpPr>
          <p:nvPr>
            <p:ph type="title"/>
          </p:nvPr>
        </p:nvSpPr>
        <p:spPr>
          <a:xfrm>
            <a:off x="246300" y="1281300"/>
            <a:ext cx="7148100" cy="57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Arial"/>
              <a:buNone/>
              <a:defRPr sz="30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7" name="Google Shape;47;p9"/>
          <p:cNvSpPr txBox="1">
            <a:spLocks noGrp="1"/>
          </p:cNvSpPr>
          <p:nvPr>
            <p:ph type="subTitle" idx="1"/>
          </p:nvPr>
        </p:nvSpPr>
        <p:spPr>
          <a:xfrm>
            <a:off x="246300" y="1852800"/>
            <a:ext cx="7148100" cy="4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defRPr sz="1600" b="1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8" name="Google Shape;48;p9"/>
          <p:cNvSpPr txBox="1">
            <a:spLocks noGrp="1"/>
          </p:cNvSpPr>
          <p:nvPr>
            <p:ph type="subTitle" idx="2"/>
          </p:nvPr>
        </p:nvSpPr>
        <p:spPr>
          <a:xfrm>
            <a:off x="246300" y="2446350"/>
            <a:ext cx="2373900" cy="77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6896D4-FB22-4D7F-AC92-1AB444A633D7}" type="datetimeFigureOut">
              <a:rPr lang="en-US" smtClean="0"/>
              <a:t>11/4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0DFB80-4EDC-44A0-8B6C-27FDDED432B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049110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6896D4-FB22-4D7F-AC92-1AB444A633D7}" type="datetimeFigureOut">
              <a:rPr lang="en-US" smtClean="0"/>
              <a:t>11/4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0DFB80-4EDC-44A0-8B6C-27FDDED432B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6754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6896D4-FB22-4D7F-AC92-1AB444A633D7}" type="datetimeFigureOut">
              <a:rPr lang="en-US" smtClean="0"/>
              <a:t>11/4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0DFB80-4EDC-44A0-8B6C-27FDDED432B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5190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6896D4-FB22-4D7F-AC92-1AB444A633D7}" type="datetimeFigureOut">
              <a:rPr lang="en-US" smtClean="0"/>
              <a:t>11/4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0DFB80-4EDC-44A0-8B6C-27FDDED432B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05793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6896D4-FB22-4D7F-AC92-1AB444A633D7}" type="datetimeFigureOut">
              <a:rPr lang="en-US" smtClean="0"/>
              <a:t>11/4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0DFB80-4EDC-44A0-8B6C-27FDDED432B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434857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6896D4-FB22-4D7F-AC92-1AB444A633D7}" type="datetimeFigureOut">
              <a:rPr lang="en-US" smtClean="0"/>
              <a:t>11/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0DFB80-4EDC-44A0-8B6C-27FDDED432B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11416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6896D4-FB22-4D7F-AC92-1AB444A633D7}" type="datetimeFigureOut">
              <a:rPr lang="en-US" smtClean="0"/>
              <a:t>11/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0DFB80-4EDC-44A0-8B6C-27FDDED432B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3514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B0D12A-D614-AA48-9DC1-3A3BF85043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7CB067A-EAAA-7D44-AFF7-8E143574AC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90A99F-830A-5C40-ADB3-7F65F12AB7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CDE7B0-9EE5-364F-A8FC-7C599924260F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7DE39A-9DE8-E84A-90BB-7871A3D98B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8FA2B4-3227-FF48-8275-89EAEDEB95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7D4CA0-264D-2D49-BCCC-DEA0209CDA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764874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810F5A-D269-EB4D-B254-54C94F0C7D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5CCB3E-83CE-DB4F-95DD-B381640610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365A27-71C9-D94F-913B-4235B65670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CDE7B0-9EE5-364F-A8FC-7C599924260F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69A76-0640-F047-963E-B896EBC9F5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482F14-24F3-C746-A5F0-AB3BA48A71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7D4CA0-264D-2D49-BCCC-DEA0209CDA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374072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93EAB2-CB9F-8248-91B5-CE6EC5BEF3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83F2B5-2F20-EE42-878B-CD3D313262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32ED65-0856-184F-AEB9-971EB5E5A3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CDE7B0-9EE5-364F-A8FC-7C599924260F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096202-F99F-6341-8A40-651BCBB3A4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483A3A-F11C-2D4A-9FE6-C6F2160DC5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7D4CA0-264D-2D49-BCCC-DEA0209CDA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3435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- Plain">
  <p:cSld name="TITLE_1_1_1_1_1_1_1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10"/>
          <p:cNvSpPr txBox="1">
            <a:spLocks noGrp="1"/>
          </p:cNvSpPr>
          <p:nvPr>
            <p:ph type="title"/>
          </p:nvPr>
        </p:nvSpPr>
        <p:spPr>
          <a:xfrm>
            <a:off x="185925" y="1998525"/>
            <a:ext cx="8589000" cy="57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Arial"/>
              <a:buNone/>
              <a:defRPr sz="30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1" name="Google Shape;51;p10"/>
          <p:cNvSpPr txBox="1">
            <a:spLocks noGrp="1"/>
          </p:cNvSpPr>
          <p:nvPr>
            <p:ph type="subTitle" idx="1"/>
          </p:nvPr>
        </p:nvSpPr>
        <p:spPr>
          <a:xfrm>
            <a:off x="185925" y="2570025"/>
            <a:ext cx="8685900" cy="4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defRPr sz="1600" b="1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2" name="Google Shape;52;p10"/>
          <p:cNvSpPr txBox="1">
            <a:spLocks noGrp="1"/>
          </p:cNvSpPr>
          <p:nvPr>
            <p:ph type="subTitle" idx="2"/>
          </p:nvPr>
        </p:nvSpPr>
        <p:spPr>
          <a:xfrm>
            <a:off x="185925" y="3000825"/>
            <a:ext cx="2373900" cy="77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53" name="Google Shape;53;p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51400" y="314625"/>
            <a:ext cx="1154124" cy="15470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8B6DE5-6FAE-1242-9CCD-7C6A99FCBA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3358E9-1DEB-B14B-BF49-B85CDFDDC70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03308DF-3382-9C4F-993E-CA87D93D643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BE4D58A-E86B-EA43-B5B8-13269CC107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CDE7B0-9EE5-364F-A8FC-7C599924260F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412B2A-3C3E-7F47-AC71-B338ED4E0B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55747A5-D7BA-B744-AD27-88A0B74AE5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7D4CA0-264D-2D49-BCCC-DEA0209CDA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60141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DF1C73-C66C-6F42-A0C4-C003F4210D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BDDEBC-0B6E-9345-BBD0-E0D6A29E43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9D3E19E-C7EE-B147-AB76-50F6CB9481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8F41F6F-1948-AB45-A1F1-50140EEF631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367F91-A326-D248-9348-414550F8B32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CCDC2ED-89AE-8B48-8D2C-329463C2E2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CDE7B0-9EE5-364F-A8FC-7C599924260F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869EE33-4615-CC4C-995D-67A28C24D3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3675374-067D-A348-8B8E-80B31D80DA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7D4CA0-264D-2D49-BCCC-DEA0209CDA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221957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E80341-63C5-0B4F-BCA0-BEB86D3FA2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83AFB5-96A9-9B47-9DCA-5E2354F7DD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CDE7B0-9EE5-364F-A8FC-7C599924260F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449C8F-8135-C64B-B42A-C5055C8A96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940FFB-BB79-9245-8AF9-6B3EBF0F3B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7D4CA0-264D-2D49-BCCC-DEA0209CDA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335230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FD68C89-F9A1-894B-82E3-3CB46BA953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CDE7B0-9EE5-364F-A8FC-7C599924260F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04FB96-29DE-2F45-BE68-1A6B4C65A6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E6541E-B980-B847-B288-81BBC3CDC9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7D4CA0-264D-2D49-BCCC-DEA0209CDA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440608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D04748-13AC-3348-BA9C-6846A72AFA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35B300-27DF-B94E-855D-FDA13E363A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BD3A71-45F3-3E4B-A1A0-D9FF560E2E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FF284FB-E926-DD4E-909C-26C203FF6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CDE7B0-9EE5-364F-A8FC-7C599924260F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CE3DDE-FF45-764A-8680-7943BB2FE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0FA060-3B12-024D-A732-45000497CE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7D4CA0-264D-2D49-BCCC-DEA0209CDA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135870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F0B266-1B98-7D47-B81E-6D4CBD30E9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D488F83-99FA-C247-B5B6-9785EA5379E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50FE18-47FA-F54E-B14C-8373F89905E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FC9F8E5-3D0E-3645-ADB9-10DBF1A238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CDE7B0-9EE5-364F-A8FC-7C599924260F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0D0586-05B7-204B-BFC8-B0888F8DF0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63D1E2-D61E-AD48-9B99-C61FDA9679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7D4CA0-264D-2D49-BCCC-DEA0209CDA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064465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B979E-4087-5E48-93CE-D81808A204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CF7E213-E8E3-864D-A829-71D7977DD89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9AD7CA-707E-ED4A-9185-9286E9C3F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CDE7B0-9EE5-364F-A8FC-7C599924260F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128A3F-D1A3-D94E-8E4D-ABD3E79945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1BA76F-7A33-EE41-9A60-3E576B5B6B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7D4CA0-264D-2D49-BCCC-DEA0209CDA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27886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BE18501-A3AA-9E46-881E-C386355B79B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981DDF2-5301-5F4D-936C-2D0539C6A34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539DA5-3111-E94D-A814-3D5D625CB4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CDE7B0-9EE5-364F-A8FC-7C599924260F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F5F7B9-A933-4E4D-B002-D8B8314CA2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E6182F-0111-9345-B840-8B8184ABE8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7D4CA0-264D-2D49-BCCC-DEA0209CDA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31664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- Partnership logos">
  <p:cSld name="TITLE_1_1_1_1_1_1_1_1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1"/>
          <p:cNvSpPr txBox="1">
            <a:spLocks noGrp="1"/>
          </p:cNvSpPr>
          <p:nvPr>
            <p:ph type="title"/>
          </p:nvPr>
        </p:nvSpPr>
        <p:spPr>
          <a:xfrm>
            <a:off x="229050" y="484500"/>
            <a:ext cx="8589000" cy="57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Arial"/>
              <a:buNone/>
              <a:defRPr sz="30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6" name="Google Shape;56;p11"/>
          <p:cNvSpPr txBox="1">
            <a:spLocks noGrp="1"/>
          </p:cNvSpPr>
          <p:nvPr>
            <p:ph type="subTitle" idx="1"/>
          </p:nvPr>
        </p:nvSpPr>
        <p:spPr>
          <a:xfrm>
            <a:off x="229050" y="1056000"/>
            <a:ext cx="8685900" cy="4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defRPr sz="1600" b="1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7" name="Google Shape;57;p11"/>
          <p:cNvSpPr txBox="1">
            <a:spLocks noGrp="1"/>
          </p:cNvSpPr>
          <p:nvPr>
            <p:ph type="subTitle" idx="2"/>
          </p:nvPr>
        </p:nvSpPr>
        <p:spPr>
          <a:xfrm>
            <a:off x="229050" y="1486800"/>
            <a:ext cx="2373900" cy="77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58" name="Google Shape;58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06350" y="4305475"/>
            <a:ext cx="1404512" cy="571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double column">
  <p:cSld name="TITLE_1_1_1_1_1_1_1_1_1_1_1_1_1_1_1_1_1_1_1_1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15"/>
          <p:cNvSpPr txBox="1">
            <a:spLocks noGrp="1"/>
          </p:cNvSpPr>
          <p:nvPr>
            <p:ph type="subTitle" idx="1"/>
          </p:nvPr>
        </p:nvSpPr>
        <p:spPr>
          <a:xfrm>
            <a:off x="137350" y="89800"/>
            <a:ext cx="8744400" cy="32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9" name="Google Shape;79;p15"/>
          <p:cNvSpPr txBox="1">
            <a:spLocks noGrp="1"/>
          </p:cNvSpPr>
          <p:nvPr>
            <p:ph type="body" idx="2"/>
          </p:nvPr>
        </p:nvSpPr>
        <p:spPr>
          <a:xfrm>
            <a:off x="137350" y="622050"/>
            <a:ext cx="4245600" cy="40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●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○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■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●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○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743200" marR="0" lvl="5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■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3200400" marR="0" lvl="6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●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3657600" marR="0" lvl="7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○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4114800" marR="0" lvl="8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■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  <p:pic>
        <p:nvPicPr>
          <p:cNvPr id="80" name="Google Shape;80;p1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17050" y="4813975"/>
            <a:ext cx="595602" cy="16032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81" name="Google Shape;81;p15"/>
          <p:cNvCxnSpPr/>
          <p:nvPr/>
        </p:nvCxnSpPr>
        <p:spPr>
          <a:xfrm>
            <a:off x="217050" y="452112"/>
            <a:ext cx="8664600" cy="0"/>
          </a:xfrm>
          <a:prstGeom prst="straightConnector1">
            <a:avLst/>
          </a:prstGeom>
          <a:noFill/>
          <a:ln w="9525" cap="flat" cmpd="sng">
            <a:solidFill>
              <a:srgbClr val="A5948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2" name="Google Shape;82;p15"/>
          <p:cNvSpPr txBox="1">
            <a:spLocks noGrp="1"/>
          </p:cNvSpPr>
          <p:nvPr>
            <p:ph type="body" idx="3"/>
          </p:nvPr>
        </p:nvSpPr>
        <p:spPr>
          <a:xfrm>
            <a:off x="4636050" y="622050"/>
            <a:ext cx="4245600" cy="40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●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○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■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●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○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743200" marR="0" lvl="5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■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3200400" marR="0" lvl="6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●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3657600" marR="0" lvl="7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○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4114800" marR="0" lvl="8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■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Small Image / Video / Chart">
  <p:cSld name="CUSTOM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Google Shape;84;p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17050" y="4813975"/>
            <a:ext cx="595602" cy="160325"/>
          </a:xfrm>
          <a:prstGeom prst="rect">
            <a:avLst/>
          </a:prstGeom>
          <a:noFill/>
          <a:ln>
            <a:noFill/>
          </a:ln>
        </p:spPr>
      </p:pic>
      <p:sp>
        <p:nvSpPr>
          <p:cNvPr id="85" name="Google Shape;85;p16"/>
          <p:cNvSpPr txBox="1">
            <a:spLocks noGrp="1"/>
          </p:cNvSpPr>
          <p:nvPr>
            <p:ph type="subTitle" idx="1"/>
          </p:nvPr>
        </p:nvSpPr>
        <p:spPr>
          <a:xfrm>
            <a:off x="117850" y="89825"/>
            <a:ext cx="8836200" cy="33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6" name="Google Shape;86;p16"/>
          <p:cNvSpPr txBox="1">
            <a:spLocks noGrp="1"/>
          </p:cNvSpPr>
          <p:nvPr>
            <p:ph type="body" idx="2"/>
          </p:nvPr>
        </p:nvSpPr>
        <p:spPr>
          <a:xfrm>
            <a:off x="137350" y="622050"/>
            <a:ext cx="5346600" cy="409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●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914400" marR="0" lvl="1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○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371600" marR="0" lvl="2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■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828800" marR="0" lvl="3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●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286000" marR="0" lvl="4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○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743200" marR="0" lvl="5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■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3200400" marR="0" lvl="6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●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3657600" marR="0" lvl="7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○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4114800" marR="0" lvl="8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entury Gothic"/>
              <a:buChar char="■"/>
              <a:defRPr sz="18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  <p:sp>
        <p:nvSpPr>
          <p:cNvPr id="87" name="Google Shape;87;p16"/>
          <p:cNvSpPr txBox="1">
            <a:spLocks noGrp="1"/>
          </p:cNvSpPr>
          <p:nvPr>
            <p:ph type="subTitle" idx="3"/>
          </p:nvPr>
        </p:nvSpPr>
        <p:spPr>
          <a:xfrm>
            <a:off x="5592600" y="4431450"/>
            <a:ext cx="3158700" cy="28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28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47.xml"/><Relationship Id="rId16" Type="http://schemas.openxmlformats.org/officeDocument/2006/relationships/image" Target="../media/image15.emf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tags" Target="../tags/tag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1" r:id="rId2"/>
    <p:sldLayoutId id="2147483652" r:id="rId3"/>
    <p:sldLayoutId id="2147483653" r:id="rId4"/>
    <p:sldLayoutId id="2147483655" r:id="rId5"/>
    <p:sldLayoutId id="2147483656" r:id="rId6"/>
    <p:sldLayoutId id="2147483657" r:id="rId7"/>
    <p:sldLayoutId id="2147483661" r:id="rId8"/>
    <p:sldLayoutId id="2147483662" r:id="rId9"/>
    <p:sldLayoutId id="2147483663" r:id="rId10"/>
    <p:sldLayoutId id="2147483664" r:id="rId11"/>
    <p:sldLayoutId id="2147483668" r:id="rId12"/>
    <p:sldLayoutId id="2147483669" r:id="rId13"/>
    <p:sldLayoutId id="2147483670" r:id="rId14"/>
    <p:sldLayoutId id="2147483671" r:id="rId15"/>
    <p:sldLayoutId id="2147483672" r:id="rId16"/>
    <p:sldLayoutId id="2147483673" r:id="rId17"/>
    <p:sldLayoutId id="2147483674" r:id="rId18"/>
    <p:sldLayoutId id="2147483675" r:id="rId19"/>
    <p:sldLayoutId id="2147483682" r:id="rId20"/>
    <p:sldLayoutId id="2147483684" r:id="rId21"/>
    <p:sldLayoutId id="2147483686" r:id="rId22"/>
    <p:sldLayoutId id="2147483687" r:id="rId23"/>
    <p:sldLayoutId id="2147483688" r:id="rId24"/>
    <p:sldLayoutId id="2147483689" r:id="rId2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8475" y="363070"/>
            <a:ext cx="7556313" cy="83708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8475" y="1485901"/>
            <a:ext cx="7556313" cy="31087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795247" y="4817689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25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519B846A-6DC9-7842-A191-50A4DED1B022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1706" y="4817689"/>
            <a:ext cx="6122894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25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5800" y="181676"/>
            <a:ext cx="554038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BA9E4F8C-8F4A-8F4E-853F-1852D77326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2569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  <p:sldLayoutId id="2147483708" r:id="rId17"/>
    <p:sldLayoutId id="2147483709" r:id="rId18"/>
    <p:sldLayoutId id="2147483710" r:id="rId19"/>
    <p:sldLayoutId id="2147483711" r:id="rId20"/>
  </p:sldLayoutIdLst>
  <p:txStyles>
    <p:titleStyle>
      <a:lvl1pPr algn="l" defTabSz="685800" rtl="0" eaLnBrk="1" latinLnBrk="0" hangingPunct="1">
        <a:spcBef>
          <a:spcPct val="0"/>
        </a:spcBef>
        <a:buNone/>
        <a:defRPr sz="27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spcBef>
          <a:spcPts val="1500"/>
        </a:spcBef>
        <a:buClr>
          <a:schemeClr val="accent1"/>
        </a:buClr>
        <a:buSzPct val="75000"/>
        <a:buFont typeface="Wingdings" pitchFamily="2" charset="2"/>
        <a:buChar char="n"/>
        <a:defRPr sz="15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342900" indent="-171450" algn="l" defTabSz="685800" rtl="0" eaLnBrk="1" latinLnBrk="0" hangingPunct="1">
        <a:spcBef>
          <a:spcPts val="450"/>
        </a:spcBef>
        <a:buClr>
          <a:schemeClr val="accent1">
            <a:lumMod val="60000"/>
            <a:lumOff val="40000"/>
          </a:schemeClr>
        </a:buClr>
        <a:buSzPct val="75000"/>
        <a:buFont typeface="Wingdings" pitchFamily="2" charset="2"/>
        <a:buChar char="n"/>
        <a:defRPr sz="135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514350" indent="-171450" algn="l" defTabSz="685800" rtl="0" eaLnBrk="1" latinLnBrk="0" hangingPunct="1">
        <a:spcBef>
          <a:spcPts val="450"/>
        </a:spcBef>
        <a:buClr>
          <a:schemeClr val="accent1"/>
        </a:buClr>
        <a:buSzPct val="75000"/>
        <a:buFont typeface="Wingdings" pitchFamily="2" charset="2"/>
        <a:buChar char="n"/>
        <a:defRPr sz="135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685800" indent="-171450" algn="l" defTabSz="685800" rtl="0" eaLnBrk="1" latinLnBrk="0" hangingPunct="1">
        <a:spcBef>
          <a:spcPts val="450"/>
        </a:spcBef>
        <a:buClr>
          <a:schemeClr val="accent1">
            <a:lumMod val="60000"/>
            <a:lumOff val="40000"/>
          </a:schemeClr>
        </a:buClr>
        <a:buSzPct val="75000"/>
        <a:buFont typeface="Wingdings" pitchFamily="2" charset="2"/>
        <a:buChar char="n"/>
        <a:defRPr sz="135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857250" indent="-171450" algn="l" defTabSz="685800" rtl="0" eaLnBrk="1" latinLnBrk="0" hangingPunct="1">
        <a:spcBef>
          <a:spcPts val="450"/>
        </a:spcBef>
        <a:buClr>
          <a:schemeClr val="accent1"/>
        </a:buClr>
        <a:buSzPct val="75000"/>
        <a:buFont typeface="Wingdings" pitchFamily="2" charset="2"/>
        <a:buChar char="n"/>
        <a:defRPr sz="135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1033463" indent="-171450" algn="l" defTabSz="685800" rtl="0" eaLnBrk="1" latinLnBrk="0" hangingPunct="1">
        <a:spcBef>
          <a:spcPct val="20000"/>
        </a:spcBef>
        <a:buClr>
          <a:schemeClr val="accent1">
            <a:lumMod val="60000"/>
            <a:lumOff val="40000"/>
          </a:schemeClr>
        </a:buClr>
        <a:buSzPct val="75000"/>
        <a:buFont typeface="Wingdings" pitchFamily="2" charset="2"/>
        <a:buChar char=""/>
        <a:defRPr lang="en-US" sz="1350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202531" indent="-171450" algn="l" defTabSz="685800" rtl="0" eaLnBrk="1" latinLnBrk="0" hangingPunct="1">
        <a:spcBef>
          <a:spcPct val="20000"/>
        </a:spcBef>
        <a:buClr>
          <a:schemeClr val="accent1"/>
        </a:buClr>
        <a:buSzPct val="75000"/>
        <a:buFont typeface="Wingdings" pitchFamily="2" charset="2"/>
        <a:buChar char=""/>
        <a:defRPr lang="en-US" sz="1350" kern="1200" baseline="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372791" indent="-171450" algn="l" defTabSz="685800" rtl="0" eaLnBrk="1" latinLnBrk="0" hangingPunct="1">
        <a:spcBef>
          <a:spcPct val="20000"/>
        </a:spcBef>
        <a:buClr>
          <a:schemeClr val="accent1">
            <a:lumMod val="60000"/>
            <a:lumOff val="40000"/>
          </a:schemeClr>
        </a:buClr>
        <a:buSzPct val="75000"/>
        <a:buFont typeface="Wingdings" pitchFamily="2" charset="2"/>
        <a:buChar char=""/>
        <a:defRPr lang="en-US" sz="1350" kern="1200" baseline="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1543050" indent="-171450" algn="l" defTabSz="685800" rtl="0" eaLnBrk="1" latinLnBrk="0" hangingPunct="1">
        <a:spcBef>
          <a:spcPct val="20000"/>
        </a:spcBef>
        <a:buClr>
          <a:schemeClr val="accent1"/>
        </a:buClr>
        <a:buSzPct val="75000"/>
        <a:buFont typeface="Wingdings" pitchFamily="2" charset="2"/>
        <a:buChar char=""/>
        <a:defRPr lang="en-US" sz="1350" kern="1200" baseline="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5" imgW="493" imgH="493" progId="TCLayout.ActiveDocument.1">
                  <p:embed/>
                </p:oleObj>
              </mc:Choice>
              <mc:Fallback>
                <p:oleObj name="think-cell Slide" r:id="rId15" imgW="493" imgH="49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6896D4-FB22-4D7F-AC92-1AB444A633D7}" type="datetimeFigureOut">
              <a:rPr lang="en-US" smtClean="0"/>
              <a:t>11/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0DFB80-4EDC-44A0-8B6C-27FDDED432B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645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CBF5174-BCBE-3E45-A483-C0412B770C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7BA044-7F80-5343-A132-47A811FBF0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A37DB2-5BF7-874C-8621-FF1FBA35F2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CDE7B0-9EE5-364F-A8FC-7C599924260F}" type="datetimeFigureOut">
              <a:rPr lang="en-US" smtClean="0"/>
              <a:t>11/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81B050-B67F-AC4C-B710-FC2BD14171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224E77-E5A6-854A-98B2-8863848EE9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7D4CA0-264D-2D49-BCCC-DEA0209CDA5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6269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12" Type="http://schemas.openxmlformats.org/officeDocument/2006/relationships/image" Target="../media/image3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Relationship Id="rId14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png"/><Relationship Id="rId5" Type="http://schemas.openxmlformats.org/officeDocument/2006/relationships/image" Target="../media/image29.png"/><Relationship Id="rId4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2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2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2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47.jpg"/><Relationship Id="rId4" Type="http://schemas.openxmlformats.org/officeDocument/2006/relationships/image" Target="../media/image4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jpg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0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6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6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6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6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63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63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6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6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63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6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63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63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63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6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0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7.png"/><Relationship Id="rId5" Type="http://schemas.openxmlformats.org/officeDocument/2006/relationships/image" Target="../media/image28.png"/><Relationship Id="rId4" Type="http://schemas.openxmlformats.org/officeDocument/2006/relationships/image" Target="../media/image26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slideLayout" Target="../slideLayouts/slideLayout46.xml"/><Relationship Id="rId7" Type="http://schemas.openxmlformats.org/officeDocument/2006/relationships/image" Target="../media/image67.tiff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.bin"/><Relationship Id="rId9" Type="http://schemas.microsoft.com/office/2007/relationships/hdphoto" Target="../media/hdphoto2.wdp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6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.bin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13" Type="http://schemas.openxmlformats.org/officeDocument/2006/relationships/image" Target="../media/image74.tiff"/><Relationship Id="rId3" Type="http://schemas.openxmlformats.org/officeDocument/2006/relationships/slideLayout" Target="../slideLayouts/slideLayout46.xml"/><Relationship Id="rId7" Type="http://schemas.microsoft.com/office/2007/relationships/hdphoto" Target="../media/hdphoto3.wdp"/><Relationship Id="rId12" Type="http://schemas.openxmlformats.org/officeDocument/2006/relationships/image" Target="../media/image73.tiff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9.png"/><Relationship Id="rId11" Type="http://schemas.openxmlformats.org/officeDocument/2006/relationships/image" Target="../media/image72.tiff"/><Relationship Id="rId5" Type="http://schemas.openxmlformats.org/officeDocument/2006/relationships/image" Target="../media/image15.emf"/><Relationship Id="rId10" Type="http://schemas.openxmlformats.org/officeDocument/2006/relationships/image" Target="../media/image71.tiff"/><Relationship Id="rId4" Type="http://schemas.openxmlformats.org/officeDocument/2006/relationships/oleObject" Target="../embeddings/oleObject4.bin"/><Relationship Id="rId9" Type="http://schemas.microsoft.com/office/2007/relationships/hdphoto" Target="../media/hdphoto4.wdp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3" Type="http://schemas.openxmlformats.org/officeDocument/2006/relationships/slideLayout" Target="../slideLayouts/slideLayout46.xml"/><Relationship Id="rId7" Type="http://schemas.openxmlformats.org/officeDocument/2006/relationships/image" Target="../media/image75.jpe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7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tiff"/><Relationship Id="rId3" Type="http://schemas.openxmlformats.org/officeDocument/2006/relationships/slideLayout" Target="../slideLayouts/slideLayout46.xml"/><Relationship Id="rId7" Type="http://schemas.openxmlformats.org/officeDocument/2006/relationships/image" Target="../media/image78.tiff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7.tif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80.tiff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tiff"/><Relationship Id="rId3" Type="http://schemas.openxmlformats.org/officeDocument/2006/relationships/slideLayout" Target="../slideLayouts/slideLayout46.xml"/><Relationship Id="rId7" Type="http://schemas.openxmlformats.org/officeDocument/2006/relationships/image" Target="../media/image78.tiff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1.tiff"/><Relationship Id="rId11" Type="http://schemas.openxmlformats.org/officeDocument/2006/relationships/image" Target="../media/image84.tiff"/><Relationship Id="rId5" Type="http://schemas.openxmlformats.org/officeDocument/2006/relationships/image" Target="../media/image15.emf"/><Relationship Id="rId10" Type="http://schemas.openxmlformats.org/officeDocument/2006/relationships/image" Target="../media/image83.tiff"/><Relationship Id="rId4" Type="http://schemas.openxmlformats.org/officeDocument/2006/relationships/oleObject" Target="../embeddings/oleObject4.bin"/><Relationship Id="rId9" Type="http://schemas.openxmlformats.org/officeDocument/2006/relationships/image" Target="../media/image82.tiff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5.tif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.bin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4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1.xml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13" Type="http://schemas.openxmlformats.org/officeDocument/2006/relationships/image" Target="../media/image98.png"/><Relationship Id="rId3" Type="http://schemas.openxmlformats.org/officeDocument/2006/relationships/image" Target="../media/image88.png"/><Relationship Id="rId7" Type="http://schemas.openxmlformats.org/officeDocument/2006/relationships/image" Target="../media/image92.png"/><Relationship Id="rId12" Type="http://schemas.openxmlformats.org/officeDocument/2006/relationships/image" Target="../media/image97.png"/><Relationship Id="rId2" Type="http://schemas.openxmlformats.org/officeDocument/2006/relationships/image" Target="../media/image87.png"/><Relationship Id="rId16" Type="http://schemas.openxmlformats.org/officeDocument/2006/relationships/image" Target="../media/image101.png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91.png"/><Relationship Id="rId11" Type="http://schemas.openxmlformats.org/officeDocument/2006/relationships/image" Target="../media/image96.png"/><Relationship Id="rId5" Type="http://schemas.openxmlformats.org/officeDocument/2006/relationships/image" Target="../media/image90.png"/><Relationship Id="rId15" Type="http://schemas.openxmlformats.org/officeDocument/2006/relationships/image" Target="../media/image100.png"/><Relationship Id="rId10" Type="http://schemas.openxmlformats.org/officeDocument/2006/relationships/image" Target="../media/image95.png"/><Relationship Id="rId4" Type="http://schemas.openxmlformats.org/officeDocument/2006/relationships/image" Target="../media/image89.png"/><Relationship Id="rId9" Type="http://schemas.openxmlformats.org/officeDocument/2006/relationships/image" Target="../media/image94.png"/><Relationship Id="rId14" Type="http://schemas.openxmlformats.org/officeDocument/2006/relationships/image" Target="../media/image99.png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jpeg"/><Relationship Id="rId1" Type="http://schemas.openxmlformats.org/officeDocument/2006/relationships/slideLayout" Target="../slideLayouts/slideLayout47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tiff"/><Relationship Id="rId2" Type="http://schemas.openxmlformats.org/officeDocument/2006/relationships/image" Target="../media/image103.tiff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105.tiff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47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47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8.tif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0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0.xml"/></Relationships>
</file>

<file path=ppt/slides/_rels/slide7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1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p44"/>
          <p:cNvSpPr txBox="1">
            <a:spLocks noGrp="1"/>
          </p:cNvSpPr>
          <p:nvPr>
            <p:ph type="title"/>
          </p:nvPr>
        </p:nvSpPr>
        <p:spPr>
          <a:xfrm>
            <a:off x="246300" y="1281300"/>
            <a:ext cx="7148100" cy="57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AU" b="1" dirty="0">
                <a:solidFill>
                  <a:schemeClr val="dk1"/>
                </a:solidFill>
              </a:rPr>
              <a:t>Demo Day</a:t>
            </a:r>
            <a:endParaRPr b="1" dirty="0">
              <a:solidFill>
                <a:schemeClr val="dk1"/>
              </a:solidFill>
            </a:endParaRPr>
          </a:p>
          <a:p>
            <a:pPr marL="0" lvl="0" indent="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GB" b="1" dirty="0">
                <a:solidFill>
                  <a:schemeClr val="dk1"/>
                </a:solidFill>
              </a:rPr>
              <a:t>Acute Malnutrition Prevention Lab </a:t>
            </a:r>
            <a:endParaRPr b="1" dirty="0">
              <a:solidFill>
                <a:schemeClr val="dk1"/>
              </a:solidFill>
            </a:endParaRPr>
          </a:p>
          <a:p>
            <a:pPr marL="0" lvl="0" indent="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GB" b="1" dirty="0">
                <a:solidFill>
                  <a:schemeClr val="dk1"/>
                </a:solidFill>
              </a:rPr>
              <a:t>India 2019</a:t>
            </a:r>
            <a:endParaRPr b="1" i="1" dirty="0">
              <a:solidFill>
                <a:schemeClr val="dk1"/>
              </a:solidFill>
              <a:highlight>
                <a:srgbClr val="FFFFFF"/>
              </a:highlight>
            </a:endParaRPr>
          </a:p>
          <a:p>
            <a:pPr marL="0" lvl="0" indent="0" algn="l" rtl="0">
              <a:spcBef>
                <a:spcPts val="30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" name="Google Shape;283;p50"/>
          <p:cNvSpPr txBox="1">
            <a:spLocks noGrp="1"/>
          </p:cNvSpPr>
          <p:nvPr>
            <p:ph type="body" idx="2"/>
          </p:nvPr>
        </p:nvSpPr>
        <p:spPr>
          <a:xfrm>
            <a:off x="137350" y="622050"/>
            <a:ext cx="8758800" cy="405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4400" b="1" dirty="0"/>
              <a:t>It’s being Baby Ready!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AU" sz="4400" b="1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4400" b="1" i="1" dirty="0"/>
              <a:t>We present the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AU" sz="4400" b="1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4400" b="1" dirty="0"/>
              <a:t>“Baby Ready Family Coalition”</a:t>
            </a:r>
            <a:endParaRPr sz="4400" b="1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3C5A94E-3832-49D6-84A0-235FCDDBBE8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420816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" name="Google Shape;283;p50"/>
          <p:cNvSpPr txBox="1">
            <a:spLocks noGrp="1"/>
          </p:cNvSpPr>
          <p:nvPr>
            <p:ph type="body" idx="2"/>
          </p:nvPr>
        </p:nvSpPr>
        <p:spPr>
          <a:xfrm>
            <a:off x="137350" y="622050"/>
            <a:ext cx="8758800" cy="405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b="1" dirty="0"/>
              <a:t>A Coalition –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4400" b="1" dirty="0"/>
              <a:t>system level,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4400" b="1" dirty="0"/>
              <a:t>multi stakeholder,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4400" b="1" dirty="0"/>
              <a:t>coordinated and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4400" b="1" dirty="0"/>
              <a:t>targeted</a:t>
            </a:r>
            <a:endParaRPr sz="4400" b="1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3C5A94E-3832-49D6-84A0-235FCDDBBE8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070657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" name="Google Shape;283;p50"/>
          <p:cNvSpPr txBox="1">
            <a:spLocks noGrp="1"/>
          </p:cNvSpPr>
          <p:nvPr>
            <p:ph type="body" idx="2"/>
          </p:nvPr>
        </p:nvSpPr>
        <p:spPr>
          <a:xfrm>
            <a:off x="137350" y="622050"/>
            <a:ext cx="8758800" cy="405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b="1" dirty="0"/>
              <a:t>Part of the current system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AU" sz="4400" b="1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4400" b="1" dirty="0"/>
              <a:t>Work with Government and current programs</a:t>
            </a:r>
            <a:endParaRPr sz="4400" b="1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3C5A94E-3832-49D6-84A0-235FCDDBBE8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939026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" name="Google Shape;283;p50"/>
          <p:cNvSpPr txBox="1">
            <a:spLocks noGrp="1"/>
          </p:cNvSpPr>
          <p:nvPr>
            <p:ph type="body" idx="2"/>
          </p:nvPr>
        </p:nvSpPr>
        <p:spPr>
          <a:xfrm>
            <a:off x="137350" y="622050"/>
            <a:ext cx="8758800" cy="405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4000" b="1" dirty="0"/>
              <a:t>Audience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AU" sz="3200" b="1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3200" b="1" dirty="0"/>
              <a:t>Individual </a:t>
            </a:r>
          </a:p>
          <a:p>
            <a:pPr marL="571500" lvl="0" indent="-57150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AU" sz="2400" b="1" dirty="0"/>
              <a:t>Adolescents (M/F)</a:t>
            </a:r>
          </a:p>
          <a:p>
            <a:pPr marL="571500" lvl="0" indent="-57150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AU" sz="2400" b="1" dirty="0"/>
              <a:t>Recently Married (M/F)</a:t>
            </a:r>
          </a:p>
          <a:p>
            <a:pPr marL="571500" lvl="0" indent="-571500" algn="l" rtl="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AU" sz="2400" b="1" dirty="0"/>
              <a:t>1000 days (M/C)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AU" sz="2400" b="1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2800" b="1" dirty="0"/>
              <a:t>Familie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2800" b="1" dirty="0"/>
              <a:t>Community</a:t>
            </a:r>
            <a:endParaRPr sz="2800" b="1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3C5A94E-3832-49D6-84A0-235FCDDBBE8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014973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" name="Google Shape;283;p50"/>
          <p:cNvSpPr txBox="1">
            <a:spLocks noGrp="1"/>
          </p:cNvSpPr>
          <p:nvPr>
            <p:ph type="body" idx="2"/>
          </p:nvPr>
        </p:nvSpPr>
        <p:spPr>
          <a:xfrm>
            <a:off x="137350" y="622050"/>
            <a:ext cx="8758800" cy="405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b="1" dirty="0"/>
              <a:t>Who is this coalition</a:t>
            </a:r>
            <a:endParaRPr b="1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3C5A94E-3832-49D6-84A0-235FCDDBBE8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586294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361BB15B-86C1-43DD-BC71-0B2F34F0C4FF}"/>
              </a:ext>
            </a:extLst>
          </p:cNvPr>
          <p:cNvSpPr/>
          <p:nvPr/>
        </p:nvSpPr>
        <p:spPr>
          <a:xfrm>
            <a:off x="2474478" y="798701"/>
            <a:ext cx="2272937" cy="18362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b="1" dirty="0">
                <a:solidFill>
                  <a:schemeClr val="tx1"/>
                </a:solidFill>
              </a:rPr>
              <a:t>Redefining Nutrition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8153CAF-DB23-45CD-9C2B-11C94015CC09}"/>
              </a:ext>
            </a:extLst>
          </p:cNvPr>
          <p:cNvSpPr/>
          <p:nvPr/>
        </p:nvSpPr>
        <p:spPr>
          <a:xfrm>
            <a:off x="4433284" y="815586"/>
            <a:ext cx="2323947" cy="185798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b="1" dirty="0">
                <a:solidFill>
                  <a:schemeClr val="tx1"/>
                </a:solidFill>
              </a:rPr>
              <a:t>Changemakers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7CECF6A-1C37-4BC6-BA8E-7C534DF4FA2A}"/>
              </a:ext>
            </a:extLst>
          </p:cNvPr>
          <p:cNvSpPr/>
          <p:nvPr/>
        </p:nvSpPr>
        <p:spPr>
          <a:xfrm>
            <a:off x="3610946" y="2024211"/>
            <a:ext cx="2272937" cy="18362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b="1" dirty="0">
                <a:solidFill>
                  <a:schemeClr val="tx1"/>
                </a:solidFill>
              </a:rPr>
              <a:t>Data Driven Decision Making</a:t>
            </a:r>
          </a:p>
        </p:txBody>
      </p:sp>
      <p:pic>
        <p:nvPicPr>
          <p:cNvPr id="1026" name="Picture 2" descr="https://lh3.googleusercontent.com/xmMpQSkYE3KihCvAA44sVzWXRYramoe528pNfoyh5hU-HyPyYGla45zFVVT9NKOzZdmHxHQ52sE07t6ncg7TE6vRdZxeiASv4H-ig_axRvN3xBZo8BMkt6iR9eM28MHvBzVvaYwx-i4">
            <a:extLst>
              <a:ext uri="{FF2B5EF4-FFF2-40B4-BE49-F238E27FC236}">
                <a16:creationId xmlns:a16="http://schemas.microsoft.com/office/drawing/2014/main" id="{A2BC6B4F-E66D-479F-A57F-414FFCB9ED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7231" y="969926"/>
            <a:ext cx="728955" cy="409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s://lh6.googleusercontent.com/W3IBagnSfvvdsFiYVO5e31SZ-M4rN7tBPd33Q18EnvNEVxC_tdISfCotUTvfXwSDc_CZWAr8V2fa0lsLRptqNzDenEMa3pU3KlQaK0TJtmx-5t9IyBc5vKgukhKU3Fj9sU9Fe8kl1_U">
            <a:extLst>
              <a:ext uri="{FF2B5EF4-FFF2-40B4-BE49-F238E27FC236}">
                <a16:creationId xmlns:a16="http://schemas.microsoft.com/office/drawing/2014/main" id="{477C1C65-59EE-4E01-AA3C-550AF4AF19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6891" y="1535642"/>
            <a:ext cx="671605" cy="574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s://lh6.googleusercontent.com/rFoob0r96X6gO2f7UojTRU032na1VIng7urIWZEWORlbqD0jvbbzvIXIM0EM_C0X2U2OuWs-htE7IpHHJe_vuPXRFPkoY6AMmmPdoqpFqJzcOGP0AMVZFkvs4NCCCLmf3ItD-C7kmSo">
            <a:extLst>
              <a:ext uri="{FF2B5EF4-FFF2-40B4-BE49-F238E27FC236}">
                <a16:creationId xmlns:a16="http://schemas.microsoft.com/office/drawing/2014/main" id="{DAEF5CF4-968E-4AAA-99CA-9843525D7E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0107" y="1126045"/>
            <a:ext cx="709904" cy="709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8" descr="https://lh6.googleusercontent.com/rFoob0r96X6gO2f7UojTRU032na1VIng7urIWZEWORlbqD0jvbbzvIXIM0EM_C0X2U2OuWs-htE7IpHHJe_vuPXRFPkoY6AMmmPdoqpFqJzcOGP0AMVZFkvs4NCCCLmf3ItD-C7kmSo">
            <a:extLst>
              <a:ext uri="{FF2B5EF4-FFF2-40B4-BE49-F238E27FC236}">
                <a16:creationId xmlns:a16="http://schemas.microsoft.com/office/drawing/2014/main" id="{86B4B5E2-AEFF-4D9F-8CDF-91E341849B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6317" y="3182594"/>
            <a:ext cx="709904" cy="709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https://lh3.googleusercontent.com/pC3vOJBp5fZOCfK7WeH6FWKVR6fnmnZFT9_EqgmSK-HCtkP0PDY1K8Y2OITA9JfysvOSQO1_dHpt2ZTthbH8BXhBqnSopEzNj8JD01vfMmD2cJTK6t7LrWsNdSMlIR6_9NrYGnMxxZo">
            <a:extLst>
              <a:ext uri="{FF2B5EF4-FFF2-40B4-BE49-F238E27FC236}">
                <a16:creationId xmlns:a16="http://schemas.microsoft.com/office/drawing/2014/main" id="{0EC24721-C60F-45BC-890D-432B577731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7453" y="2014394"/>
            <a:ext cx="1202833" cy="817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https://lh3.googleusercontent.com/GE8af9Cz4Cp84pqVi9_8hl67590r7GhU4sIKD0Kb_mVwiznouJL0GZWNY8wkjBSeChWyC3G6Oc0fly-VIJROeSbalXa8H2TtaDaRKdrW36SDAaU8sQ4NGuQDfEv5vbwDjCTu0J85HL0">
            <a:extLst>
              <a:ext uri="{FF2B5EF4-FFF2-40B4-BE49-F238E27FC236}">
                <a16:creationId xmlns:a16="http://schemas.microsoft.com/office/drawing/2014/main" id="{01A68913-1171-42E1-B71E-148A0191FC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4298" y="439916"/>
            <a:ext cx="967507" cy="439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2" descr="https://lh3.googleusercontent.com/pC3vOJBp5fZOCfK7WeH6FWKVR6fnmnZFT9_EqgmSK-HCtkP0PDY1K8Y2OITA9JfysvOSQO1_dHpt2ZTthbH8BXhBqnSopEzNj8JD01vfMmD2cJTK6t7LrWsNdSMlIR6_9NrYGnMxxZo">
            <a:extLst>
              <a:ext uri="{FF2B5EF4-FFF2-40B4-BE49-F238E27FC236}">
                <a16:creationId xmlns:a16="http://schemas.microsoft.com/office/drawing/2014/main" id="{846AD39C-8C9F-408B-8CE6-A7A2CD8C7F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3494" y="1302553"/>
            <a:ext cx="1015210" cy="690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D6EB26B-4EAC-4D02-9773-3E54632D119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11288" y="3725024"/>
            <a:ext cx="1283893" cy="270901"/>
          </a:xfrm>
          <a:prstGeom prst="rect">
            <a:avLst/>
          </a:prstGeom>
        </p:spPr>
      </p:pic>
      <p:pic>
        <p:nvPicPr>
          <p:cNvPr id="1044" name="Picture 20" descr="https://lh6.googleusercontent.com/uS0D0qTZpue9La0mPcB0X-6_s-4uv3wQxtBsbiYJEfqpLzIPMx5IfdmbgPg_6SjPJ47uOuaHdA9Hy8IEY6W836zkUDK_JBhEr3NCoQkbTHICRDAvhZ8x63HJy0BOESyUde05qQkZyYs">
            <a:extLst>
              <a:ext uri="{FF2B5EF4-FFF2-40B4-BE49-F238E27FC236}">
                <a16:creationId xmlns:a16="http://schemas.microsoft.com/office/drawing/2014/main" id="{0DB090B7-474F-441B-97B1-5348254D5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4089" y="1906339"/>
            <a:ext cx="722642" cy="722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 descr="https://lh3.googleusercontent.com/QHzqTzESMhRgdrak5M77hCaCIaaWiyRBBZEPreTMKtlnkhfUF2t4_ha43FnEDM38iCdiObO7_L3l9_OHr_slAGxtskgbqMMaLRumLRkQw8MbsmZm6Xd8sQEvZAdn7-lJBum0FWVF-ro">
            <a:extLst>
              <a:ext uri="{FF2B5EF4-FFF2-40B4-BE49-F238E27FC236}">
                <a16:creationId xmlns:a16="http://schemas.microsoft.com/office/drawing/2014/main" id="{D24A718B-6C89-4258-876A-3AF5824628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0663" y="4183479"/>
            <a:ext cx="702673" cy="702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8" name="Picture 24" descr="https://lh3.googleusercontent.com/gAGSE7L3BvOqj7WVdulqWlzaaqlQh5SiStE-dDLPMgBUB5IoCiFe640X9sd1a7OW6-LAfZlVKYeOj4yfeMxTkKZ8vcpPPiZs2uKV7v_MdjPRSaYqNm-4yDzo7uInE5tXLjFwwsUCoNY">
            <a:extLst>
              <a:ext uri="{FF2B5EF4-FFF2-40B4-BE49-F238E27FC236}">
                <a16:creationId xmlns:a16="http://schemas.microsoft.com/office/drawing/2014/main" id="{CB2065F9-0AA0-4E32-8143-5A8B0599E4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4800" y="2425641"/>
            <a:ext cx="803318" cy="406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0" descr="https://lh6.googleusercontent.com/uS0D0qTZpue9La0mPcB0X-6_s-4uv3wQxtBsbiYJEfqpLzIPMx5IfdmbgPg_6SjPJ47uOuaHdA9Hy8IEY6W836zkUDK_JBhEr3NCoQkbTHICRDAvhZ8x63HJy0BOESyUde05qQkZyYs">
            <a:extLst>
              <a:ext uri="{FF2B5EF4-FFF2-40B4-BE49-F238E27FC236}">
                <a16:creationId xmlns:a16="http://schemas.microsoft.com/office/drawing/2014/main" id="{24ABFC9F-2617-430C-810A-2B5699C4B2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9243" y="4236475"/>
            <a:ext cx="722642" cy="722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Related image">
            <a:extLst>
              <a:ext uri="{FF2B5EF4-FFF2-40B4-BE49-F238E27FC236}">
                <a16:creationId xmlns:a16="http://schemas.microsoft.com/office/drawing/2014/main" id="{3F697206-3B74-4363-A3FD-38A1EC61AA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3416" y="139106"/>
            <a:ext cx="808495" cy="808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C1A291B-5C29-4B98-BC7A-DD2F687B5802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b="26229"/>
          <a:stretch/>
        </p:blipFill>
        <p:spPr>
          <a:xfrm>
            <a:off x="5159176" y="4284219"/>
            <a:ext cx="1272620" cy="41818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8A9764A-2225-478E-B9DC-DDF17F83D1C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24353" y="669506"/>
            <a:ext cx="1354320" cy="556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3599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Google Shape;258;p47"/>
          <p:cNvSpPr txBox="1">
            <a:spLocks noGrp="1"/>
          </p:cNvSpPr>
          <p:nvPr>
            <p:ph type="body" idx="2"/>
          </p:nvPr>
        </p:nvSpPr>
        <p:spPr>
          <a:xfrm>
            <a:off x="137350" y="622050"/>
            <a:ext cx="8758800" cy="405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b="1" dirty="0"/>
              <a:t>Pitch</a:t>
            </a:r>
            <a:endParaRPr b="1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1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1" dirty="0"/>
          </a:p>
        </p:txBody>
      </p:sp>
      <p:pic>
        <p:nvPicPr>
          <p:cNvPr id="260" name="Google Shape;260;p4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593600" y="2655525"/>
            <a:ext cx="2487975" cy="24879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361BB15B-86C1-43DD-BC71-0B2F34F0C4FF}"/>
              </a:ext>
            </a:extLst>
          </p:cNvPr>
          <p:cNvSpPr/>
          <p:nvPr/>
        </p:nvSpPr>
        <p:spPr>
          <a:xfrm>
            <a:off x="2474478" y="798701"/>
            <a:ext cx="2272937" cy="18362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b="1" dirty="0">
                <a:solidFill>
                  <a:schemeClr val="tx1"/>
                </a:solidFill>
              </a:rPr>
              <a:t>Redefining Nutrition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8153CAF-DB23-45CD-9C2B-11C94015CC09}"/>
              </a:ext>
            </a:extLst>
          </p:cNvPr>
          <p:cNvSpPr/>
          <p:nvPr/>
        </p:nvSpPr>
        <p:spPr>
          <a:xfrm>
            <a:off x="4433284" y="815586"/>
            <a:ext cx="2323947" cy="1857982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b="1" dirty="0">
                <a:solidFill>
                  <a:schemeClr val="tx1"/>
                </a:solidFill>
              </a:rPr>
              <a:t>Changemakers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7CECF6A-1C37-4BC6-BA8E-7C534DF4FA2A}"/>
              </a:ext>
            </a:extLst>
          </p:cNvPr>
          <p:cNvSpPr/>
          <p:nvPr/>
        </p:nvSpPr>
        <p:spPr>
          <a:xfrm>
            <a:off x="3610946" y="2024211"/>
            <a:ext cx="2272937" cy="1836264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b="1" dirty="0">
                <a:solidFill>
                  <a:schemeClr val="tx1"/>
                </a:solidFill>
              </a:rPr>
              <a:t>Data Driven Decision Making</a:t>
            </a:r>
          </a:p>
        </p:txBody>
      </p:sp>
      <p:pic>
        <p:nvPicPr>
          <p:cNvPr id="21" name="Picture 12" descr="https://lh3.googleusercontent.com/pC3vOJBp5fZOCfK7WeH6FWKVR6fnmnZFT9_EqgmSK-HCtkP0PDY1K8Y2OITA9JfysvOSQO1_dHpt2ZTthbH8BXhBqnSopEzNj8JD01vfMmD2cJTK6t7LrWsNdSMlIR6_9NrYGnMxxZo">
            <a:extLst>
              <a:ext uri="{FF2B5EF4-FFF2-40B4-BE49-F238E27FC236}">
                <a16:creationId xmlns:a16="http://schemas.microsoft.com/office/drawing/2014/main" id="{846AD39C-8C9F-408B-8CE6-A7A2CD8C7F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3494" y="1302553"/>
            <a:ext cx="1015210" cy="690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https://lh6.googleusercontent.com/uS0D0qTZpue9La0mPcB0X-6_s-4uv3wQxtBsbiYJEfqpLzIPMx5IfdmbgPg_6SjPJ47uOuaHdA9Hy8IEY6W836zkUDK_JBhEr3NCoQkbTHICRDAvhZ8x63HJy0BOESyUde05qQkZyYs">
            <a:extLst>
              <a:ext uri="{FF2B5EF4-FFF2-40B4-BE49-F238E27FC236}">
                <a16:creationId xmlns:a16="http://schemas.microsoft.com/office/drawing/2014/main" id="{0DB090B7-474F-441B-97B1-5348254D5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4089" y="1906339"/>
            <a:ext cx="722642" cy="722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8" name="Picture 24" descr="https://lh3.googleusercontent.com/gAGSE7L3BvOqj7WVdulqWlzaaqlQh5SiStE-dDLPMgBUB5IoCiFe640X9sd1a7OW6-LAfZlVKYeOj4yfeMxTkKZ8vcpPPiZs2uKV7v_MdjPRSaYqNm-4yDzo7uInE5tXLjFwwsUCoNY">
            <a:extLst>
              <a:ext uri="{FF2B5EF4-FFF2-40B4-BE49-F238E27FC236}">
                <a16:creationId xmlns:a16="http://schemas.microsoft.com/office/drawing/2014/main" id="{CB2065F9-0AA0-4E32-8143-5A8B0599E4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4800" y="2425641"/>
            <a:ext cx="803318" cy="406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3396B51-C2E7-410D-8BAA-AF4D21AFF9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24353" y="669506"/>
            <a:ext cx="1354320" cy="556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64381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defining Nutrition 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400886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ni </a:t>
            </a:r>
          </a:p>
        </p:txBody>
      </p:sp>
      <p:pic>
        <p:nvPicPr>
          <p:cNvPr id="5" name="Picture Placeholder 4"/>
          <p:cNvPicPr>
            <a:picLocks noGrp="1" noChangeAspect="1"/>
          </p:cNvPicPr>
          <p:nvPr>
            <p:ph type="pic" idx="1"/>
          </p:nvPr>
        </p:nvPicPr>
        <p:blipFill>
          <a:blip r:embed="rId2"/>
          <a:srcRect l="31820" r="31820"/>
          <a:stretch>
            <a:fillRect/>
          </a:stretch>
        </p:blipFill>
        <p:spPr/>
      </p:pic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7F7F7F"/>
                </a:solidFill>
              </a:rPr>
              <a:t>14 years old, lives next to an open drain in VP Singh Camp, New Delhi</a:t>
            </a:r>
          </a:p>
          <a:p>
            <a:r>
              <a:rPr lang="en-US" dirty="0">
                <a:solidFill>
                  <a:srgbClr val="7F7F7F"/>
                </a:solidFill>
              </a:rPr>
              <a:t>Likes to eat outside, loves fruits</a:t>
            </a:r>
          </a:p>
          <a:p>
            <a:r>
              <a:rPr lang="en-US" dirty="0">
                <a:solidFill>
                  <a:srgbClr val="7F7F7F"/>
                </a:solidFill>
              </a:rPr>
              <a:t>Both parents working</a:t>
            </a:r>
          </a:p>
          <a:p>
            <a:r>
              <a:rPr lang="en-US" dirty="0">
                <a:solidFill>
                  <a:srgbClr val="7F7F7F"/>
                </a:solidFill>
              </a:rPr>
              <a:t>Can’t afford fresh vegetables, eats one cooked meal a day</a:t>
            </a:r>
          </a:p>
          <a:p>
            <a:r>
              <a:rPr lang="en-US" dirty="0">
                <a:solidFill>
                  <a:srgbClr val="7F7F7F"/>
                </a:solidFill>
              </a:rPr>
              <a:t>Deficient in iron, low BMI</a:t>
            </a:r>
          </a:p>
        </p:txBody>
      </p:sp>
    </p:spTree>
    <p:extLst>
      <p:ext uri="{BB962C8B-B14F-4D97-AF65-F5344CB8AC3E}">
        <p14:creationId xmlns:p14="http://schemas.microsoft.com/office/powerpoint/2010/main" val="343352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Google Shape;252;p46"/>
          <p:cNvSpPr txBox="1">
            <a:spLocks noGrp="1"/>
          </p:cNvSpPr>
          <p:nvPr>
            <p:ph type="body" idx="2"/>
          </p:nvPr>
        </p:nvSpPr>
        <p:spPr>
          <a:xfrm>
            <a:off x="4898400" y="245350"/>
            <a:ext cx="4099200" cy="4467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6000" b="1" dirty="0"/>
              <a:t>Welcome</a:t>
            </a:r>
            <a:endParaRPr lang="en-GB" b="1" dirty="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GB" b="1" dirty="0"/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3200" b="1" dirty="0"/>
              <a:t>Brenton Caffin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400" b="1" dirty="0"/>
              <a:t>Executive Director, Global Innovation Partnerships</a:t>
            </a:r>
            <a:endParaRPr sz="4000" b="1" dirty="0"/>
          </a:p>
        </p:txBody>
      </p:sp>
      <p:pic>
        <p:nvPicPr>
          <p:cNvPr id="253" name="Google Shape;253;p46"/>
          <p:cNvPicPr preferRelativeResize="0"/>
          <p:nvPr/>
        </p:nvPicPr>
        <p:blipFill rotWithShape="1">
          <a:blip r:embed="rId3">
            <a:alphaModFix/>
          </a:blip>
          <a:srcRect b="8349"/>
          <a:stretch/>
        </p:blipFill>
        <p:spPr>
          <a:xfrm>
            <a:off x="0" y="104750"/>
            <a:ext cx="4611449" cy="422637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What is the problem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ccessibility</a:t>
            </a:r>
          </a:p>
          <a:p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ffordability</a:t>
            </a:r>
          </a:p>
          <a:p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ptake</a:t>
            </a:r>
          </a:p>
          <a:p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apacity to Assess</a:t>
            </a:r>
          </a:p>
        </p:txBody>
      </p:sp>
    </p:spTree>
    <p:extLst>
      <p:ext uri="{BB962C8B-B14F-4D97-AF65-F5344CB8AC3E}">
        <p14:creationId xmlns:p14="http://schemas.microsoft.com/office/powerpoint/2010/main" val="386246019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16856" y="363070"/>
            <a:ext cx="5667234" cy="837080"/>
          </a:xfrm>
        </p:spPr>
        <p:txBody>
          <a:bodyPr/>
          <a:lstStyle/>
          <a:p>
            <a:r>
              <a:rPr lang="en-US" sz="2400" dirty="0"/>
              <a:t>Why does the problem continue to persist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rgbClr val="7F7F7F"/>
                </a:solidFill>
              </a:rPr>
              <a:t>Treatment over prevention</a:t>
            </a:r>
          </a:p>
          <a:p>
            <a:r>
              <a:rPr lang="en-US" dirty="0">
                <a:solidFill>
                  <a:srgbClr val="7F7F7F"/>
                </a:solidFill>
              </a:rPr>
              <a:t>Unaccounted preferences</a:t>
            </a:r>
          </a:p>
          <a:p>
            <a:r>
              <a:rPr lang="en-US" dirty="0">
                <a:solidFill>
                  <a:srgbClr val="7F7F7F"/>
                </a:solidFill>
              </a:rPr>
              <a:t>One solution for all</a:t>
            </a:r>
          </a:p>
          <a:p>
            <a:r>
              <a:rPr lang="en-US" dirty="0">
                <a:solidFill>
                  <a:srgbClr val="7F7F7F"/>
                </a:solidFill>
              </a:rPr>
              <a:t>Unsustainable models</a:t>
            </a:r>
          </a:p>
          <a:p>
            <a:r>
              <a:rPr lang="en-US" dirty="0">
                <a:solidFill>
                  <a:srgbClr val="7F7F7F"/>
                </a:solidFill>
              </a:rPr>
              <a:t>Limited food spectrum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30644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rocess-based solution – 10X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b="1" dirty="0">
                <a:solidFill>
                  <a:srgbClr val="7F7F7F"/>
                </a:solidFill>
              </a:rPr>
              <a:t>Expanding</a:t>
            </a:r>
            <a:r>
              <a:rPr lang="en-US" dirty="0">
                <a:solidFill>
                  <a:srgbClr val="7F7F7F"/>
                </a:solidFill>
              </a:rPr>
              <a:t> the food spectrum</a:t>
            </a:r>
          </a:p>
          <a:p>
            <a:r>
              <a:rPr lang="en-US" b="1" dirty="0">
                <a:solidFill>
                  <a:srgbClr val="7F7F7F"/>
                </a:solidFill>
              </a:rPr>
              <a:t>Reframing</a:t>
            </a:r>
            <a:r>
              <a:rPr lang="en-US" dirty="0">
                <a:solidFill>
                  <a:srgbClr val="7F7F7F"/>
                </a:solidFill>
              </a:rPr>
              <a:t> the approach to nutrition</a:t>
            </a:r>
          </a:p>
          <a:p>
            <a:r>
              <a:rPr lang="en-US" b="1" dirty="0">
                <a:solidFill>
                  <a:srgbClr val="7F7F7F"/>
                </a:solidFill>
              </a:rPr>
              <a:t>Redefining</a:t>
            </a:r>
            <a:r>
              <a:rPr lang="en-US" dirty="0">
                <a:solidFill>
                  <a:srgbClr val="7F7F7F"/>
                </a:solidFill>
              </a:rPr>
              <a:t> nutritious food</a:t>
            </a:r>
            <a:endParaRPr lang="en-US" dirty="0">
              <a:solidFill>
                <a:srgbClr val="7F7F7F"/>
              </a:solidFill>
              <a:latin typeface="Rockwell (Body)"/>
              <a:cs typeface="Rockwell (Body)"/>
            </a:endParaRPr>
          </a:p>
        </p:txBody>
      </p:sp>
    </p:spTree>
    <p:extLst>
      <p:ext uri="{BB962C8B-B14F-4D97-AF65-F5344CB8AC3E}">
        <p14:creationId xmlns:p14="http://schemas.microsoft.com/office/powerpoint/2010/main" val="39824413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Process-based solution – 10X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xpanding the food spectrum</a:t>
            </a:r>
          </a:p>
          <a:p>
            <a:pPr lvl="1"/>
            <a:endParaRPr lang="en-US" dirty="0">
              <a:solidFill>
                <a:srgbClr val="7F7F7F"/>
              </a:solidFill>
            </a:endParaRPr>
          </a:p>
        </p:txBody>
      </p:sp>
      <p:pic>
        <p:nvPicPr>
          <p:cNvPr id="4" name="Picture 3" descr="IMG_2379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51" t="24003" r="2069" b="29838"/>
          <a:stretch/>
        </p:blipFill>
        <p:spPr>
          <a:xfrm>
            <a:off x="1335438" y="2155050"/>
            <a:ext cx="6417800" cy="2078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492005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rocess-based solution – 10X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7F7F7F"/>
                </a:solidFill>
              </a:rPr>
              <a:t>Reframing the approach to nutrition</a:t>
            </a:r>
          </a:p>
          <a:p>
            <a:endParaRPr lang="en-US" dirty="0">
              <a:solidFill>
                <a:srgbClr val="7F7F7F"/>
              </a:solidFill>
            </a:endParaRPr>
          </a:p>
          <a:p>
            <a:pPr lvl="1"/>
            <a:r>
              <a:rPr lang="en-US" dirty="0">
                <a:solidFill>
                  <a:srgbClr val="7F7F7F"/>
                </a:solidFill>
              </a:rPr>
              <a:t>Include adolescents and recently married persons</a:t>
            </a:r>
          </a:p>
          <a:p>
            <a:pPr lvl="1"/>
            <a:r>
              <a:rPr lang="en-US" dirty="0">
                <a:solidFill>
                  <a:srgbClr val="7F7F7F"/>
                </a:solidFill>
              </a:rPr>
              <a:t>Incorporate individual and community preferences</a:t>
            </a:r>
          </a:p>
          <a:p>
            <a:pPr lvl="1"/>
            <a:r>
              <a:rPr lang="en-US" dirty="0">
                <a:solidFill>
                  <a:srgbClr val="7F7F7F"/>
                </a:solidFill>
              </a:rPr>
              <a:t>Adopt context-specific </a:t>
            </a:r>
            <a:r>
              <a:rPr lang="en-US" dirty="0" err="1">
                <a:solidFill>
                  <a:srgbClr val="7F7F7F"/>
                </a:solidFill>
              </a:rPr>
              <a:t>programmes</a:t>
            </a:r>
            <a:endParaRPr lang="en-US" dirty="0">
              <a:solidFill>
                <a:srgbClr val="7F7F7F"/>
              </a:solidFill>
            </a:endParaRPr>
          </a:p>
          <a:p>
            <a:pPr lvl="1"/>
            <a:r>
              <a:rPr lang="en-US" dirty="0">
                <a:solidFill>
                  <a:srgbClr val="7F7F7F"/>
                </a:solidFill>
              </a:rPr>
              <a:t>Use sustainable models</a:t>
            </a:r>
          </a:p>
          <a:p>
            <a:pPr lvl="1"/>
            <a:r>
              <a:rPr lang="en-US" dirty="0">
                <a:solidFill>
                  <a:srgbClr val="7F7F7F"/>
                </a:solidFill>
              </a:rPr>
              <a:t>Ensure collective concern </a:t>
            </a:r>
          </a:p>
          <a:p>
            <a:pPr lvl="1"/>
            <a:endParaRPr lang="en-US" dirty="0">
              <a:solidFill>
                <a:schemeClr val="accent2"/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404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rocess-based solution – 10X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7F7F7F"/>
                </a:solidFill>
              </a:rPr>
              <a:t>Redefining nutritious food</a:t>
            </a:r>
          </a:p>
          <a:p>
            <a:endParaRPr lang="en-US" dirty="0">
              <a:solidFill>
                <a:srgbClr val="7F7F7F"/>
              </a:solidFill>
            </a:endParaRPr>
          </a:p>
          <a:p>
            <a:pPr lvl="1"/>
            <a:r>
              <a:rPr lang="en-US" dirty="0">
                <a:solidFill>
                  <a:srgbClr val="7F7F7F"/>
                </a:solidFill>
              </a:rPr>
              <a:t>Safe and hygienic</a:t>
            </a:r>
          </a:p>
          <a:p>
            <a:pPr lvl="1"/>
            <a:r>
              <a:rPr lang="en-US" dirty="0">
                <a:solidFill>
                  <a:srgbClr val="7F7F7F"/>
                </a:solidFill>
              </a:rPr>
              <a:t>Nutrition-dense</a:t>
            </a:r>
          </a:p>
          <a:p>
            <a:pPr lvl="1"/>
            <a:r>
              <a:rPr lang="en-US" dirty="0">
                <a:solidFill>
                  <a:srgbClr val="7F7F7F"/>
                </a:solidFill>
              </a:rPr>
              <a:t>Locally-sourced ingredients</a:t>
            </a:r>
          </a:p>
          <a:p>
            <a:pPr lvl="1"/>
            <a:r>
              <a:rPr lang="en-US" dirty="0">
                <a:solidFill>
                  <a:srgbClr val="7F7F7F"/>
                </a:solidFill>
              </a:rPr>
              <a:t>Fresh produce</a:t>
            </a:r>
          </a:p>
          <a:p>
            <a:pPr lvl="1"/>
            <a:r>
              <a:rPr lang="en-US" dirty="0">
                <a:solidFill>
                  <a:srgbClr val="7F7F7F"/>
                </a:solidFill>
              </a:rPr>
              <a:t>Based on individual and community preference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927208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The </a:t>
            </a:r>
            <a:r>
              <a:rPr lang="en-US" sz="2400" dirty="0" err="1"/>
              <a:t>Gameplan</a:t>
            </a:r>
            <a:r>
              <a:rPr lang="en-US" sz="2400" dirty="0"/>
              <a:t> </a:t>
            </a:r>
          </a:p>
        </p:txBody>
      </p:sp>
      <p:pic>
        <p:nvPicPr>
          <p:cNvPr id="4" name="Picture 3" descr="IMG_2377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50" t="7869" r="9225" b="23152"/>
          <a:stretch/>
        </p:blipFill>
        <p:spPr>
          <a:xfrm>
            <a:off x="1516856" y="1635531"/>
            <a:ext cx="5927083" cy="2597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45036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16856" y="363071"/>
            <a:ext cx="5667235" cy="522040"/>
          </a:xfrm>
        </p:spPr>
        <p:txBody>
          <a:bodyPr/>
          <a:lstStyle/>
          <a:p>
            <a:r>
              <a:rPr lang="en-US" sz="2400" dirty="0"/>
              <a:t>The </a:t>
            </a:r>
            <a:r>
              <a:rPr lang="en-US" sz="2400" dirty="0" err="1"/>
              <a:t>Gameplan</a:t>
            </a:r>
            <a:r>
              <a:rPr lang="en-US" sz="2400" dirty="0"/>
              <a:t> 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5900" y="895748"/>
            <a:ext cx="6172200" cy="3865563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7F7F7F"/>
                </a:solidFill>
              </a:rPr>
              <a:t>Assessment Process</a:t>
            </a:r>
          </a:p>
          <a:p>
            <a:pPr lvl="1"/>
            <a:r>
              <a:rPr lang="en-US" dirty="0">
                <a:solidFill>
                  <a:srgbClr val="7F7F7F"/>
                </a:solidFill>
              </a:rPr>
              <a:t>Community </a:t>
            </a:r>
            <a:r>
              <a:rPr lang="en-US" dirty="0" err="1">
                <a:solidFill>
                  <a:srgbClr val="7F7F7F"/>
                </a:solidFill>
              </a:rPr>
              <a:t>FoodPrint</a:t>
            </a:r>
            <a:endParaRPr lang="en-US" dirty="0">
              <a:solidFill>
                <a:srgbClr val="7F7F7F"/>
              </a:solidFill>
            </a:endParaRPr>
          </a:p>
          <a:p>
            <a:pPr lvl="1"/>
            <a:r>
              <a:rPr lang="en-US" dirty="0">
                <a:solidFill>
                  <a:srgbClr val="7F7F7F"/>
                </a:solidFill>
              </a:rPr>
              <a:t>Tangible and Intangible Preferences</a:t>
            </a:r>
          </a:p>
          <a:p>
            <a:pPr lvl="1"/>
            <a:r>
              <a:rPr lang="en-US" dirty="0">
                <a:solidFill>
                  <a:srgbClr val="7F7F7F"/>
                </a:solidFill>
              </a:rPr>
              <a:t>Nutrition Requirements</a:t>
            </a:r>
          </a:p>
          <a:p>
            <a:pPr lvl="1"/>
            <a:r>
              <a:rPr lang="en-US" dirty="0">
                <a:solidFill>
                  <a:srgbClr val="7F7F7F"/>
                </a:solidFill>
              </a:rPr>
              <a:t>Wellbeing (Health &amp; WASH) Indicators</a:t>
            </a:r>
          </a:p>
          <a:p>
            <a:pPr marL="0" indent="0">
              <a:buNone/>
            </a:pPr>
            <a:endParaRPr lang="en-US" dirty="0">
              <a:solidFill>
                <a:srgbClr val="7F7F7F"/>
              </a:solidFill>
            </a:endParaRPr>
          </a:p>
        </p:txBody>
      </p:sp>
      <p:pic>
        <p:nvPicPr>
          <p:cNvPr id="4" name="Picture 3" descr="IMG_2378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07" t="2671" r="12795"/>
          <a:stretch/>
        </p:blipFill>
        <p:spPr>
          <a:xfrm rot="16200000">
            <a:off x="3354369" y="1290399"/>
            <a:ext cx="2613239" cy="4688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050745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 err="1"/>
              <a:t>Gameplan</a:t>
            </a:r>
            <a:r>
              <a:rPr lang="en-US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7F7F7F"/>
                </a:solidFill>
              </a:rPr>
              <a:t>Guiding Framework</a:t>
            </a:r>
          </a:p>
          <a:p>
            <a:pPr marL="171450" lvl="1" indent="0">
              <a:buNone/>
            </a:pPr>
            <a:endParaRPr lang="en-US" dirty="0">
              <a:solidFill>
                <a:srgbClr val="7F7F7F"/>
              </a:solidFill>
            </a:endParaRPr>
          </a:p>
          <a:p>
            <a:pPr lvl="1"/>
            <a:r>
              <a:rPr lang="en-US" dirty="0">
                <a:solidFill>
                  <a:srgbClr val="7F7F7F"/>
                </a:solidFill>
              </a:rPr>
              <a:t>Combine on-the-ground data with technical expertise</a:t>
            </a:r>
          </a:p>
          <a:p>
            <a:pPr lvl="1"/>
            <a:r>
              <a:rPr lang="en-US" dirty="0">
                <a:solidFill>
                  <a:srgbClr val="7F7F7F"/>
                </a:solidFill>
              </a:rPr>
              <a:t>Use assessment process to identify community needs</a:t>
            </a:r>
          </a:p>
          <a:p>
            <a:pPr lvl="1"/>
            <a:r>
              <a:rPr lang="en-US" dirty="0">
                <a:solidFill>
                  <a:srgbClr val="7F7F7F"/>
                </a:solidFill>
              </a:rPr>
              <a:t>Adapt relevant and actionable strategies from the toolk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998617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 err="1"/>
              <a:t>Gameplan</a:t>
            </a:r>
            <a:r>
              <a:rPr lang="en-US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7F7F7F"/>
                </a:solidFill>
              </a:rPr>
              <a:t>Strategy Toolkit </a:t>
            </a:r>
          </a:p>
          <a:p>
            <a:pPr marL="0" indent="0">
              <a:buNone/>
            </a:pPr>
            <a:endParaRPr lang="en-US" dirty="0">
              <a:solidFill>
                <a:srgbClr val="7F7F7F"/>
              </a:solidFill>
            </a:endParaRPr>
          </a:p>
          <a:p>
            <a:pPr lvl="1"/>
            <a:r>
              <a:rPr lang="en-US" dirty="0">
                <a:solidFill>
                  <a:srgbClr val="7F7F7F"/>
                </a:solidFill>
              </a:rPr>
              <a:t>Fresh Food Webs</a:t>
            </a:r>
          </a:p>
          <a:p>
            <a:pPr lvl="1"/>
            <a:r>
              <a:rPr lang="en-US" dirty="0">
                <a:solidFill>
                  <a:srgbClr val="7F7F7F"/>
                </a:solidFill>
              </a:rPr>
              <a:t>Supplementary Food Webs</a:t>
            </a:r>
          </a:p>
          <a:p>
            <a:pPr lvl="1"/>
            <a:r>
              <a:rPr lang="en-US" dirty="0">
                <a:solidFill>
                  <a:srgbClr val="7F7F7F"/>
                </a:solidFill>
              </a:rPr>
              <a:t>Cooked Meal Food Webs</a:t>
            </a:r>
          </a:p>
          <a:p>
            <a:pPr lvl="1"/>
            <a:endParaRPr lang="en-US" dirty="0">
              <a:solidFill>
                <a:srgbClr val="7F7F7F"/>
              </a:solidFill>
            </a:endParaRPr>
          </a:p>
          <a:p>
            <a:pPr lvl="1"/>
            <a:endParaRPr lang="en-US" dirty="0">
              <a:solidFill>
                <a:srgbClr val="7F7F7F"/>
              </a:solidFill>
            </a:endParaRPr>
          </a:p>
          <a:p>
            <a:pPr marL="171450" lvl="1" indent="0">
              <a:buNone/>
            </a:pPr>
            <a:r>
              <a:rPr lang="en-US" dirty="0">
                <a:solidFill>
                  <a:srgbClr val="7F7F7F"/>
                </a:solidFill>
              </a:rPr>
              <a:t>*Nutrition Food Web* - A network of producers, processors, sellers, role models, consumers </a:t>
            </a:r>
            <a:r>
              <a:rPr lang="en-US" dirty="0" err="1">
                <a:solidFill>
                  <a:srgbClr val="7F7F7F"/>
                </a:solidFill>
              </a:rPr>
              <a:t>etc</a:t>
            </a:r>
            <a:r>
              <a:rPr lang="en-US" dirty="0">
                <a:solidFill>
                  <a:srgbClr val="7F7F7F"/>
                </a:solidFill>
              </a:rPr>
              <a:t> based on market and non-market based sustainable models.</a:t>
            </a:r>
          </a:p>
          <a:p>
            <a:endParaRPr lang="en-US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81250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E7D3DBD3-785F-4805-A575-435B894B4DE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CD36D1-D343-4204-B28D-43E9E6D45D7A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pPr marL="0" indent="0">
              <a:buNone/>
            </a:pPr>
            <a:endParaRPr lang="en-GB" sz="3600" b="1" dirty="0"/>
          </a:p>
          <a:p>
            <a:pPr marL="0" indent="0">
              <a:buNone/>
            </a:pPr>
            <a:r>
              <a:rPr lang="en-GB" sz="3600" b="1" dirty="0" err="1"/>
              <a:t>Hemang</a:t>
            </a:r>
            <a:r>
              <a:rPr lang="en-GB" sz="3600" b="1" dirty="0"/>
              <a:t> Shah &amp; </a:t>
            </a:r>
            <a:r>
              <a:rPr lang="en-GB" sz="3600" b="1" dirty="0" err="1"/>
              <a:t>Biva</a:t>
            </a:r>
            <a:r>
              <a:rPr lang="en-GB" sz="3600" b="1" dirty="0"/>
              <a:t> </a:t>
            </a:r>
            <a:r>
              <a:rPr lang="en-GB" sz="3600" b="1" dirty="0" err="1"/>
              <a:t>Rajbhandari</a:t>
            </a:r>
            <a:endParaRPr lang="en-GB" sz="3600" b="1" dirty="0"/>
          </a:p>
          <a:p>
            <a:pPr marL="0" indent="0">
              <a:buNone/>
            </a:pPr>
            <a:r>
              <a:rPr lang="en-GB" sz="2400" b="1" dirty="0" err="1"/>
              <a:t>Childrens</a:t>
            </a:r>
            <a:r>
              <a:rPr lang="en-GB" sz="2400" b="1" dirty="0"/>
              <a:t> Investment Fund Foundation</a:t>
            </a:r>
            <a:endParaRPr lang="en-AU" sz="2400" dirty="0"/>
          </a:p>
        </p:txBody>
      </p:sp>
      <p:pic>
        <p:nvPicPr>
          <p:cNvPr id="1026" name="Picture 2" descr="https://lh5.googleusercontent.com/vqMGrdZIa8qqXwLhB0-Ck1Nvp3JqGSEfGRAFn8zMcWmZL8aLj3SEvF-KWr3-DheFJo6CcvVAtySy8FTTFESi2ZaRsP9PtegvYdyVjSCHLZxd3UjyWGacTRwlijgtzR7RzgrfEjVJdSQ">
            <a:extLst>
              <a:ext uri="{FF2B5EF4-FFF2-40B4-BE49-F238E27FC236}">
                <a16:creationId xmlns:a16="http://schemas.microsoft.com/office/drawing/2014/main" id="{3D0D4570-4ECF-4532-9B3B-368AFF16FD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4707" y="3877802"/>
            <a:ext cx="2158480" cy="519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918097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pu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350" dirty="0">
                <a:solidFill>
                  <a:srgbClr val="7F7F7F"/>
                </a:solidFill>
              </a:rPr>
              <a:t>Improve affordability and accessibility of nutritious food</a:t>
            </a:r>
          </a:p>
          <a:p>
            <a:r>
              <a:rPr lang="en-US" sz="1350" dirty="0">
                <a:solidFill>
                  <a:srgbClr val="7F7F7F"/>
                </a:solidFill>
              </a:rPr>
              <a:t>Improve uptake of nutritious food</a:t>
            </a:r>
          </a:p>
          <a:p>
            <a:r>
              <a:rPr lang="en-US" sz="1350" dirty="0">
                <a:solidFill>
                  <a:srgbClr val="7F7F7F"/>
                </a:solidFill>
              </a:rPr>
              <a:t>Increase capacity to assess nutrition requirements</a:t>
            </a:r>
          </a:p>
          <a:p>
            <a:pPr marL="0" indent="0">
              <a:buNone/>
            </a:pPr>
            <a:r>
              <a:rPr lang="en-US" dirty="0">
                <a:solidFill>
                  <a:srgbClr val="7F7F7F"/>
                </a:solidFill>
              </a:rPr>
              <a:t>Through</a:t>
            </a:r>
          </a:p>
          <a:p>
            <a:r>
              <a:rPr lang="en-US" sz="1200" dirty="0">
                <a:solidFill>
                  <a:srgbClr val="7F7F7F"/>
                </a:solidFill>
              </a:rPr>
              <a:t>Livelihoods in the nutrition space</a:t>
            </a:r>
          </a:p>
          <a:p>
            <a:r>
              <a:rPr lang="en-US" sz="1200" dirty="0">
                <a:solidFill>
                  <a:srgbClr val="7F7F7F"/>
                </a:solidFill>
              </a:rPr>
              <a:t>Collaborating with existing stakeholders</a:t>
            </a:r>
          </a:p>
          <a:p>
            <a:r>
              <a:rPr lang="en-US" sz="1200" dirty="0">
                <a:solidFill>
                  <a:srgbClr val="7F7F7F"/>
                </a:solidFill>
              </a:rPr>
              <a:t>Sustainable models</a:t>
            </a:r>
          </a:p>
          <a:p>
            <a:r>
              <a:rPr lang="en-US" sz="1200" dirty="0">
                <a:solidFill>
                  <a:srgbClr val="7F7F7F"/>
                </a:solidFill>
              </a:rPr>
              <a:t>Collective responsibility</a:t>
            </a:r>
          </a:p>
        </p:txBody>
      </p:sp>
    </p:spTree>
    <p:extLst>
      <p:ext uri="{BB962C8B-B14F-4D97-AF65-F5344CB8AC3E}">
        <p14:creationId xmlns:p14="http://schemas.microsoft.com/office/powerpoint/2010/main" val="65973929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does this look like?</a:t>
            </a:r>
          </a:p>
        </p:txBody>
      </p:sp>
      <p:pic>
        <p:nvPicPr>
          <p:cNvPr id="4" name="Picture 3" descr="IMG_2378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07" t="2671" r="12795"/>
          <a:stretch/>
        </p:blipFill>
        <p:spPr>
          <a:xfrm rot="16200000">
            <a:off x="2789355" y="232291"/>
            <a:ext cx="3204145" cy="574914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40424" y="2917355"/>
            <a:ext cx="881435" cy="54242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40424" y="2257554"/>
            <a:ext cx="881435" cy="52192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40424" y="3620188"/>
            <a:ext cx="881435" cy="58791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76860" y="2278036"/>
            <a:ext cx="802358" cy="50144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63136" y="2965875"/>
            <a:ext cx="773558" cy="49390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63136" y="3620188"/>
            <a:ext cx="773558" cy="587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54629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16856" y="363070"/>
            <a:ext cx="5667235" cy="511592"/>
          </a:xfrm>
        </p:spPr>
        <p:txBody>
          <a:bodyPr/>
          <a:lstStyle/>
          <a:p>
            <a:r>
              <a:rPr lang="en-US" dirty="0"/>
              <a:t>What does this look like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16856" y="1106879"/>
            <a:ext cx="2502981" cy="3791394"/>
          </a:xfrm>
        </p:spPr>
        <p:txBody>
          <a:bodyPr/>
          <a:lstStyle/>
          <a:p>
            <a:r>
              <a:rPr lang="en-US" dirty="0">
                <a:solidFill>
                  <a:srgbClr val="7F7F7F"/>
                </a:solidFill>
              </a:rPr>
              <a:t>Use small open spaces in VP Singh Camp to grow micro-greens</a:t>
            </a:r>
          </a:p>
          <a:p>
            <a:r>
              <a:rPr lang="en-US" dirty="0">
                <a:solidFill>
                  <a:srgbClr val="7F7F7F"/>
                </a:solidFill>
              </a:rPr>
              <a:t>Make fortified nutritious snacks available at the local grocery store</a:t>
            </a:r>
          </a:p>
          <a:p>
            <a:r>
              <a:rPr lang="en-US" dirty="0">
                <a:solidFill>
                  <a:srgbClr val="7F7F7F"/>
                </a:solidFill>
              </a:rPr>
              <a:t>Window kitchens for freshly cooked food so Rani can eat hot meals even when her parents are away</a:t>
            </a:r>
          </a:p>
          <a:p>
            <a:endParaRPr lang="en-US" dirty="0">
              <a:solidFill>
                <a:srgbClr val="7F7F7F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7619" t="-1" r="11746" b="-641"/>
          <a:stretch/>
        </p:blipFill>
        <p:spPr>
          <a:xfrm>
            <a:off x="5759978" y="3192436"/>
            <a:ext cx="1998360" cy="1705838"/>
          </a:xfrm>
          <a:prstGeom prst="rect">
            <a:avLst/>
          </a:prstGeom>
        </p:spPr>
      </p:pic>
      <p:pic>
        <p:nvPicPr>
          <p:cNvPr id="5" name="Picture 4" descr="Screenshot_20190626-115440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88" b="30677"/>
          <a:stretch/>
        </p:blipFill>
        <p:spPr>
          <a:xfrm>
            <a:off x="5759978" y="1486598"/>
            <a:ext cx="1998360" cy="1705838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>
          <a:xfrm>
            <a:off x="4092184" y="1486598"/>
            <a:ext cx="1200848" cy="1604041"/>
            <a:chOff x="2863877" y="764520"/>
            <a:chExt cx="3434063" cy="4574159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4"/>
            <a:srcRect l="7729" t="2966" r="6972" b="16097"/>
            <a:stretch/>
          </p:blipFill>
          <p:spPr>
            <a:xfrm>
              <a:off x="2863877" y="764520"/>
              <a:ext cx="3434063" cy="4574159"/>
            </a:xfrm>
            <a:prstGeom prst="rect">
              <a:avLst/>
            </a:prstGeom>
          </p:spPr>
        </p:pic>
        <p:sp>
          <p:nvSpPr>
            <p:cNvPr id="7" name="Rectangle 6"/>
            <p:cNvSpPr/>
            <p:nvPr/>
          </p:nvSpPr>
          <p:spPr>
            <a:xfrm>
              <a:off x="3450218" y="1993233"/>
              <a:ext cx="2251619" cy="91820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defTabSz="342900">
                <a:buClrTx/>
              </a:pPr>
              <a:endParaRPr lang="en-US" sz="1350" kern="1200">
                <a:solidFill>
                  <a:prstClr val="white"/>
                </a:solidFill>
                <a:latin typeface="Rockwell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4082466" y="3192436"/>
            <a:ext cx="1210567" cy="1661858"/>
            <a:chOff x="3919287" y="4256581"/>
            <a:chExt cx="1883937" cy="2215811"/>
          </a:xfrm>
        </p:grpSpPr>
        <p:pic>
          <p:nvPicPr>
            <p:cNvPr id="10" name="Picture 9" descr="PHOTO-2019-06-26-12-05-39.jpg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4689" r="65421" b="3007"/>
            <a:stretch/>
          </p:blipFill>
          <p:spPr>
            <a:xfrm>
              <a:off x="3919287" y="4256581"/>
              <a:ext cx="1883937" cy="2215811"/>
            </a:xfrm>
            <a:prstGeom prst="rect">
              <a:avLst/>
            </a:prstGeom>
          </p:spPr>
        </p:pic>
        <p:sp>
          <p:nvSpPr>
            <p:cNvPr id="11" name="Rectangle 10"/>
            <p:cNvSpPr/>
            <p:nvPr/>
          </p:nvSpPr>
          <p:spPr>
            <a:xfrm>
              <a:off x="4639223" y="4444580"/>
              <a:ext cx="474135" cy="233027"/>
            </a:xfrm>
            <a:prstGeom prst="rect">
              <a:avLst/>
            </a:prstGeom>
            <a:solidFill>
              <a:srgbClr val="D9D9D9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900">
                <a:buClrTx/>
              </a:pPr>
              <a:endParaRPr lang="en-US" sz="1350" kern="1200">
                <a:solidFill>
                  <a:prstClr val="white"/>
                </a:solidFill>
                <a:latin typeface="Rockwel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729384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tners</a:t>
            </a:r>
          </a:p>
        </p:txBody>
      </p:sp>
      <p:pic>
        <p:nvPicPr>
          <p:cNvPr id="6" name="Content Placeholder 5" descr="Fields_of_View_Logo.jpg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2" b="1242"/>
          <a:stretch>
            <a:fillRect/>
          </a:stretch>
        </p:blipFill>
        <p:spPr>
          <a:xfrm>
            <a:off x="1818147" y="2944696"/>
            <a:ext cx="2019726" cy="1107907"/>
          </a:xfrm>
        </p:spPr>
      </p:pic>
      <p:pic>
        <p:nvPicPr>
          <p:cNvPr id="7" name="Picture 6" descr="TBR_log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7516" y="1280665"/>
            <a:ext cx="2376349" cy="950540"/>
          </a:xfrm>
          <a:prstGeom prst="rect">
            <a:avLst/>
          </a:prstGeom>
        </p:spPr>
      </p:pic>
      <p:pic>
        <p:nvPicPr>
          <p:cNvPr id="8" name="Picture 7" descr="swami-sivananda-memorail-institute-logo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5735" y="1133133"/>
            <a:ext cx="650593" cy="888309"/>
          </a:xfrm>
          <a:prstGeom prst="rect">
            <a:avLst/>
          </a:prstGeom>
        </p:spPr>
      </p:pic>
      <p:pic>
        <p:nvPicPr>
          <p:cNvPr id="9" name="Picture 8" descr="TPC1.png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16" t="23850" r="14559" b="17412"/>
          <a:stretch/>
        </p:blipFill>
        <p:spPr>
          <a:xfrm>
            <a:off x="4398879" y="2623190"/>
            <a:ext cx="1953528" cy="1691811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1750114" y="2130278"/>
            <a:ext cx="1805484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900">
              <a:buClrTx/>
            </a:pPr>
            <a:r>
              <a:rPr lang="en-US" sz="1200" kern="1200" dirty="0">
                <a:solidFill>
                  <a:prstClr val="black"/>
                </a:solidFill>
                <a:latin typeface="Rockwell"/>
                <a:ea typeface="+mn-ea"/>
                <a:cs typeface="+mn-cs"/>
              </a:rPr>
              <a:t>Swami </a:t>
            </a:r>
            <a:r>
              <a:rPr lang="en-US" sz="1200" kern="1200" dirty="0" err="1">
                <a:solidFill>
                  <a:prstClr val="black"/>
                </a:solidFill>
                <a:latin typeface="Rockwell"/>
                <a:ea typeface="+mn-ea"/>
                <a:cs typeface="+mn-cs"/>
              </a:rPr>
              <a:t>Sivananda</a:t>
            </a:r>
            <a:r>
              <a:rPr lang="en-US" sz="1200" kern="1200" dirty="0">
                <a:solidFill>
                  <a:prstClr val="black"/>
                </a:solidFill>
                <a:latin typeface="Rockwell"/>
                <a:ea typeface="+mn-ea"/>
                <a:cs typeface="+mn-cs"/>
              </a:rPr>
              <a:t> Memorial Institute</a:t>
            </a:r>
          </a:p>
          <a:p>
            <a:pPr algn="ctr" defTabSz="342900">
              <a:buClrTx/>
            </a:pPr>
            <a:endParaRPr lang="en-US" sz="900" kern="1200" dirty="0">
              <a:solidFill>
                <a:prstClr val="black"/>
              </a:solidFill>
              <a:latin typeface="Rockwel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908846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Google Shape;258;p47"/>
          <p:cNvSpPr txBox="1">
            <a:spLocks noGrp="1"/>
          </p:cNvSpPr>
          <p:nvPr>
            <p:ph type="body" idx="2"/>
          </p:nvPr>
        </p:nvSpPr>
        <p:spPr>
          <a:xfrm>
            <a:off x="137350" y="622050"/>
            <a:ext cx="8758800" cy="405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b="1" dirty="0"/>
              <a:t>Any Questions?</a:t>
            </a:r>
            <a:endParaRPr b="1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1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1" dirty="0"/>
          </a:p>
        </p:txBody>
      </p:sp>
    </p:spTree>
    <p:extLst>
      <p:ext uri="{BB962C8B-B14F-4D97-AF65-F5344CB8AC3E}">
        <p14:creationId xmlns:p14="http://schemas.microsoft.com/office/powerpoint/2010/main" val="32473281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361BB15B-86C1-43DD-BC71-0B2F34F0C4FF}"/>
              </a:ext>
            </a:extLst>
          </p:cNvPr>
          <p:cNvSpPr/>
          <p:nvPr/>
        </p:nvSpPr>
        <p:spPr>
          <a:xfrm>
            <a:off x="2474478" y="798701"/>
            <a:ext cx="2272937" cy="1836264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b="1" dirty="0">
                <a:solidFill>
                  <a:schemeClr val="tx1"/>
                </a:solidFill>
              </a:rPr>
              <a:t>Redefining Nutrition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8153CAF-DB23-45CD-9C2B-11C94015CC09}"/>
              </a:ext>
            </a:extLst>
          </p:cNvPr>
          <p:cNvSpPr/>
          <p:nvPr/>
        </p:nvSpPr>
        <p:spPr>
          <a:xfrm>
            <a:off x="4433284" y="815586"/>
            <a:ext cx="2323947" cy="185798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b="1" dirty="0">
                <a:solidFill>
                  <a:schemeClr val="tx1"/>
                </a:solidFill>
              </a:rPr>
              <a:t>Changemakers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7CECF6A-1C37-4BC6-BA8E-7C534DF4FA2A}"/>
              </a:ext>
            </a:extLst>
          </p:cNvPr>
          <p:cNvSpPr/>
          <p:nvPr/>
        </p:nvSpPr>
        <p:spPr>
          <a:xfrm>
            <a:off x="3610946" y="2024211"/>
            <a:ext cx="2272937" cy="1836264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b="1" dirty="0">
                <a:solidFill>
                  <a:schemeClr val="tx1"/>
                </a:solidFill>
              </a:rPr>
              <a:t>Data Driven Decision Making</a:t>
            </a:r>
          </a:p>
        </p:txBody>
      </p:sp>
      <p:pic>
        <p:nvPicPr>
          <p:cNvPr id="1026" name="Picture 2" descr="https://lh3.googleusercontent.com/xmMpQSkYE3KihCvAA44sVzWXRYramoe528pNfoyh5hU-HyPyYGla45zFVVT9NKOzZdmHxHQ52sE07t6ncg7TE6vRdZxeiASv4H-ig_axRvN3xBZo8BMkt6iR9eM28MHvBzVvaYwx-i4">
            <a:extLst>
              <a:ext uri="{FF2B5EF4-FFF2-40B4-BE49-F238E27FC236}">
                <a16:creationId xmlns:a16="http://schemas.microsoft.com/office/drawing/2014/main" id="{A2BC6B4F-E66D-479F-A57F-414FFCB9ED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7231" y="969926"/>
            <a:ext cx="728955" cy="409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s://lh6.googleusercontent.com/W3IBagnSfvvdsFiYVO5e31SZ-M4rN7tBPd33Q18EnvNEVxC_tdISfCotUTvfXwSDc_CZWAr8V2fa0lsLRptqNzDenEMa3pU3KlQaK0TJtmx-5t9IyBc5vKgukhKU3Fj9sU9Fe8kl1_U">
            <a:extLst>
              <a:ext uri="{FF2B5EF4-FFF2-40B4-BE49-F238E27FC236}">
                <a16:creationId xmlns:a16="http://schemas.microsoft.com/office/drawing/2014/main" id="{477C1C65-59EE-4E01-AA3C-550AF4AF19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6891" y="1535642"/>
            <a:ext cx="671605" cy="574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s://lh6.googleusercontent.com/rFoob0r96X6gO2f7UojTRU032na1VIng7urIWZEWORlbqD0jvbbzvIXIM0EM_C0X2U2OuWs-htE7IpHHJe_vuPXRFPkoY6AMmmPdoqpFqJzcOGP0AMVZFkvs4NCCCLmf3ItD-C7kmSo">
            <a:extLst>
              <a:ext uri="{FF2B5EF4-FFF2-40B4-BE49-F238E27FC236}">
                <a16:creationId xmlns:a16="http://schemas.microsoft.com/office/drawing/2014/main" id="{DAEF5CF4-968E-4AAA-99CA-9843525D7E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0107" y="1126045"/>
            <a:ext cx="709904" cy="709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https://lh3.googleusercontent.com/pC3vOJBp5fZOCfK7WeH6FWKVR6fnmnZFT9_EqgmSK-HCtkP0PDY1K8Y2OITA9JfysvOSQO1_dHpt2ZTthbH8BXhBqnSopEzNj8JD01vfMmD2cJTK6t7LrWsNdSMlIR6_9NrYGnMxxZo">
            <a:extLst>
              <a:ext uri="{FF2B5EF4-FFF2-40B4-BE49-F238E27FC236}">
                <a16:creationId xmlns:a16="http://schemas.microsoft.com/office/drawing/2014/main" id="{0EC24721-C60F-45BC-890D-432B577731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7453" y="2014394"/>
            <a:ext cx="1202833" cy="817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https://lh3.googleusercontent.com/GE8af9Cz4Cp84pqVi9_8hl67590r7GhU4sIKD0Kb_mVwiznouJL0GZWNY8wkjBSeChWyC3G6Oc0fly-VIJROeSbalXa8H2TtaDaRKdrW36SDAaU8sQ4NGuQDfEv5vbwDjCTu0J85HL0">
            <a:extLst>
              <a:ext uri="{FF2B5EF4-FFF2-40B4-BE49-F238E27FC236}">
                <a16:creationId xmlns:a16="http://schemas.microsoft.com/office/drawing/2014/main" id="{01A68913-1171-42E1-B71E-148A0191FC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4298" y="439916"/>
            <a:ext cx="967507" cy="439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Related image">
            <a:extLst>
              <a:ext uri="{FF2B5EF4-FFF2-40B4-BE49-F238E27FC236}">
                <a16:creationId xmlns:a16="http://schemas.microsoft.com/office/drawing/2014/main" id="{3F697206-3B74-4363-A3FD-38A1EC61AA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3416" y="139106"/>
            <a:ext cx="808495" cy="808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09792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B9014AE-2DAA-AC40-871A-6A71C88BA8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8078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3B08BE8-E336-5141-A712-FAEBD778E0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40446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9ECDF88-A5E1-0146-A48E-19DC532859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497159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25C7F98-53F9-5C41-A224-C44F715120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7256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s://lh6.googleusercontent.com/t0Pnbz56DRURQ1YBhEs78uuyjYttco8kUlDLHVqPbhIi4mZQuvHz0hFkUEQ6M5ZpkWwP-lovdbheoFAWOeGOc2-G6APKTN7bH4mYPrbo9uKkC9e1bQAbpFsTu9Bu99pElcoHCxW_SC0">
            <a:extLst>
              <a:ext uri="{FF2B5EF4-FFF2-40B4-BE49-F238E27FC236}">
                <a16:creationId xmlns:a16="http://schemas.microsoft.com/office/drawing/2014/main" id="{B96087D1-65EA-4085-AD29-D105661F98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56000"/>
            <a:ext cx="9144000" cy="3097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D2A63C79-1DA5-48CB-BC58-743B7EAF97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760" y="338942"/>
            <a:ext cx="8589000" cy="571500"/>
          </a:xfrm>
        </p:spPr>
        <p:txBody>
          <a:bodyPr/>
          <a:lstStyle/>
          <a:p>
            <a:r>
              <a:rPr lang="en-AU" b="1" dirty="0"/>
              <a:t>Why the Lab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CD36D1-D343-4204-B28D-43E9E6D45D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32691" y="2470521"/>
            <a:ext cx="8685900" cy="430800"/>
          </a:xfrm>
        </p:spPr>
        <p:txBody>
          <a:bodyPr/>
          <a:lstStyle/>
          <a:p>
            <a:pPr marL="0" indent="0">
              <a:buNone/>
            </a:pPr>
            <a:endParaRPr lang="en-GB" b="1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AU" sz="3600" dirty="0">
                <a:solidFill>
                  <a:schemeClr val="bg1"/>
                </a:solidFill>
              </a:rPr>
              <a:t>Kate Sutton</a:t>
            </a:r>
          </a:p>
          <a:p>
            <a:pPr marL="0" indent="0">
              <a:buNone/>
            </a:pPr>
            <a:r>
              <a:rPr lang="en-AU" sz="3600" dirty="0">
                <a:solidFill>
                  <a:schemeClr val="bg1"/>
                </a:solidFill>
              </a:rPr>
              <a:t>NESTA</a:t>
            </a:r>
          </a:p>
          <a:p>
            <a:pPr marL="0" indent="0">
              <a:buNone/>
            </a:pPr>
            <a:endParaRPr lang="en-A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329566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ECD9EF0-E99A-6549-8E8F-36B4A931F5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145814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4EAD330-1296-DD45-94A9-5D4CEB085C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15124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EEDAA1D-CF1E-894E-8816-EE4764D53B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79627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7F6CE4C-FD19-F641-8BA7-8429697DEE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08686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A8D53EB-B6F9-5B4F-A21B-92B47DBF60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048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608F760-E758-FF4D-827B-654CF03901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69856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367EBC9-49CC-344C-A99C-B7439FFF8C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77154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563D46C-CB93-9D49-9A3F-55574FBEA3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97307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57FA654-4682-DB42-8D33-894A400AE0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079031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AA20DBE-57D3-4C4E-BBFA-A2690AED7F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25212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84516F2D-2747-4BA1-B66A-3E96D76AA4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5098" y="127922"/>
            <a:ext cx="4079100" cy="326100"/>
          </a:xfrm>
        </p:spPr>
        <p:txBody>
          <a:bodyPr/>
          <a:lstStyle/>
          <a:p>
            <a:r>
              <a:rPr lang="en-AU" sz="1800" dirty="0"/>
              <a:t>Traditional Approach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8ECE7738-6FC5-4F6D-BC88-A2B5321FE74E}"/>
              </a:ext>
            </a:extLst>
          </p:cNvPr>
          <p:cNvSpPr>
            <a:spLocks noGrp="1"/>
          </p:cNvSpPr>
          <p:nvPr>
            <p:ph type="subTitle" idx="3"/>
          </p:nvPr>
        </p:nvSpPr>
        <p:spPr>
          <a:xfrm>
            <a:off x="86250" y="813661"/>
            <a:ext cx="4079100" cy="2250989"/>
          </a:xfrm>
        </p:spPr>
        <p:txBody>
          <a:bodyPr/>
          <a:lstStyle/>
          <a:p>
            <a:r>
              <a:rPr lang="en-GB" sz="1200" b="1" dirty="0"/>
              <a:t>Mapping community ‘needs’ (</a:t>
            </a:r>
            <a:r>
              <a:rPr lang="en-GB" sz="1200" b="1" dirty="0" err="1"/>
              <a:t>e.g</a:t>
            </a:r>
            <a:r>
              <a:rPr lang="en-GB" sz="1200" b="1" dirty="0"/>
              <a:t>, identifying what is missing/deficient and then offering a service to fill the gap)</a:t>
            </a:r>
          </a:p>
          <a:p>
            <a:endParaRPr lang="en-GB" sz="1200" b="1" dirty="0"/>
          </a:p>
          <a:p>
            <a:endParaRPr lang="en-GB" sz="1200" b="1" dirty="0"/>
          </a:p>
          <a:p>
            <a:r>
              <a:rPr lang="en-GB" sz="1200" b="1" dirty="0"/>
              <a:t>Narrow/targeted project intervention</a:t>
            </a:r>
          </a:p>
          <a:p>
            <a:endParaRPr lang="en-GB" sz="1200" b="1" dirty="0"/>
          </a:p>
          <a:p>
            <a:endParaRPr lang="en-GB" sz="1200" b="1" dirty="0"/>
          </a:p>
          <a:p>
            <a:r>
              <a:rPr lang="en-GB" sz="1200" b="1" dirty="0"/>
              <a:t>Linear solutions (problems are tackled directly)</a:t>
            </a:r>
          </a:p>
          <a:p>
            <a:endParaRPr lang="en-GB" sz="1200" b="1" dirty="0"/>
          </a:p>
          <a:p>
            <a:endParaRPr lang="en-GB" sz="1200" b="1" dirty="0"/>
          </a:p>
          <a:p>
            <a:r>
              <a:rPr lang="en-GB" sz="1200" b="1" dirty="0"/>
              <a:t>Assume beneficiaries/targets behave like ‘rational actors’ (acting in their best interests)</a:t>
            </a:r>
          </a:p>
          <a:p>
            <a:endParaRPr lang="en-GB" sz="1200" b="1" dirty="0"/>
          </a:p>
          <a:p>
            <a:endParaRPr lang="en-GB" sz="1200" b="1" dirty="0"/>
          </a:p>
          <a:p>
            <a:r>
              <a:rPr lang="en-GB" sz="1200" b="1" dirty="0"/>
              <a:t>Learning happens through evaluation at conclusion of grant/project</a:t>
            </a:r>
          </a:p>
          <a:p>
            <a:endParaRPr lang="en-GB" sz="1200" b="1" dirty="0"/>
          </a:p>
          <a:p>
            <a:endParaRPr lang="en-GB" sz="1200" b="1" dirty="0"/>
          </a:p>
          <a:p>
            <a:r>
              <a:rPr lang="en-GB" sz="1200" b="1" dirty="0"/>
              <a:t>Works incrementally to improve the situation</a:t>
            </a:r>
          </a:p>
          <a:p>
            <a:endParaRPr lang="en-AU" sz="1200" b="1" dirty="0"/>
          </a:p>
        </p:txBody>
      </p:sp>
      <p:sp>
        <p:nvSpPr>
          <p:cNvPr id="5" name="Subtitle 1">
            <a:extLst>
              <a:ext uri="{FF2B5EF4-FFF2-40B4-BE49-F238E27FC236}">
                <a16:creationId xmlns:a16="http://schemas.microsoft.com/office/drawing/2014/main" id="{E3A1AF78-A057-4433-9568-20C6B8DE49D3}"/>
              </a:ext>
            </a:extLst>
          </p:cNvPr>
          <p:cNvSpPr txBox="1">
            <a:spLocks/>
          </p:cNvSpPr>
          <p:nvPr/>
        </p:nvSpPr>
        <p:spPr>
          <a:xfrm>
            <a:off x="4572000" y="127922"/>
            <a:ext cx="4079100" cy="32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AU" sz="1800" dirty="0">
                <a:solidFill>
                  <a:schemeClr val="tx1"/>
                </a:solidFill>
              </a:rPr>
              <a:t>Lab Approach</a:t>
            </a:r>
          </a:p>
        </p:txBody>
      </p:sp>
      <p:sp>
        <p:nvSpPr>
          <p:cNvPr id="6" name="Subtitle 3">
            <a:extLst>
              <a:ext uri="{FF2B5EF4-FFF2-40B4-BE49-F238E27FC236}">
                <a16:creationId xmlns:a16="http://schemas.microsoft.com/office/drawing/2014/main" id="{679AD8C9-5131-4F84-8395-4DEFE4FBED0F}"/>
              </a:ext>
            </a:extLst>
          </p:cNvPr>
          <p:cNvSpPr txBox="1">
            <a:spLocks/>
          </p:cNvSpPr>
          <p:nvPr/>
        </p:nvSpPr>
        <p:spPr>
          <a:xfrm>
            <a:off x="4492935" y="745211"/>
            <a:ext cx="4079100" cy="22509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en-GB" sz="1200" b="1" dirty="0">
                <a:solidFill>
                  <a:schemeClr val="dk1"/>
                </a:solidFill>
              </a:rPr>
              <a:t>Mapping community assets (</a:t>
            </a:r>
            <a:r>
              <a:rPr lang="en-GB" sz="1200" b="1" dirty="0" err="1">
                <a:solidFill>
                  <a:schemeClr val="dk1"/>
                </a:solidFill>
              </a:rPr>
              <a:t>e.g</a:t>
            </a:r>
            <a:r>
              <a:rPr lang="en-GB" sz="1200" b="1" dirty="0">
                <a:solidFill>
                  <a:schemeClr val="dk1"/>
                </a:solidFill>
              </a:rPr>
              <a:t>, assessing the resources, skills, and experience that already exist to solve the problem and building on those)</a:t>
            </a:r>
          </a:p>
          <a:p>
            <a:pPr lvl="0"/>
            <a:endParaRPr lang="en-GB" sz="1200" b="1" dirty="0">
              <a:solidFill>
                <a:schemeClr val="dk1"/>
              </a:solidFill>
            </a:endParaRPr>
          </a:p>
          <a:p>
            <a:pPr lvl="0"/>
            <a:r>
              <a:rPr lang="en-GB" sz="1200" b="1" dirty="0">
                <a:solidFill>
                  <a:schemeClr val="dk1"/>
                </a:solidFill>
              </a:rPr>
              <a:t>Systems thinking and ecosystem investment</a:t>
            </a:r>
          </a:p>
          <a:p>
            <a:pPr lvl="0"/>
            <a:endParaRPr lang="en-GB" sz="1200" b="1" dirty="0">
              <a:solidFill>
                <a:schemeClr val="dk1"/>
              </a:solidFill>
            </a:endParaRPr>
          </a:p>
          <a:p>
            <a:pPr lvl="0"/>
            <a:endParaRPr lang="en-GB" sz="1200" b="1" dirty="0">
              <a:solidFill>
                <a:schemeClr val="dk1"/>
              </a:solidFill>
            </a:endParaRPr>
          </a:p>
          <a:p>
            <a:pPr lvl="0"/>
            <a:r>
              <a:rPr lang="en-GB" sz="1200" b="1" dirty="0">
                <a:solidFill>
                  <a:schemeClr val="dk1"/>
                </a:solidFill>
              </a:rPr>
              <a:t>Oblique solutions (problems can be tackled holistically and indirectly)</a:t>
            </a:r>
          </a:p>
          <a:p>
            <a:pPr lvl="0"/>
            <a:endParaRPr lang="en-GB" sz="1200" b="1" dirty="0">
              <a:solidFill>
                <a:schemeClr val="dk1"/>
              </a:solidFill>
            </a:endParaRPr>
          </a:p>
          <a:p>
            <a:pPr lvl="0"/>
            <a:r>
              <a:rPr lang="en-GB" sz="1200" b="1" dirty="0">
                <a:solidFill>
                  <a:schemeClr val="dk1"/>
                </a:solidFill>
              </a:rPr>
              <a:t>More nuanced understanding of human behaviour, based on behavioural science insights</a:t>
            </a:r>
          </a:p>
          <a:p>
            <a:pPr lvl="0"/>
            <a:endParaRPr lang="en-GB" sz="1200" b="1" dirty="0">
              <a:solidFill>
                <a:schemeClr val="dk1"/>
              </a:solidFill>
            </a:endParaRPr>
          </a:p>
          <a:p>
            <a:pPr lvl="0"/>
            <a:endParaRPr lang="en-GB" sz="1200" b="1" dirty="0">
              <a:solidFill>
                <a:schemeClr val="dk1"/>
              </a:solidFill>
            </a:endParaRPr>
          </a:p>
          <a:p>
            <a:pPr lvl="0"/>
            <a:r>
              <a:rPr lang="en-GB" sz="1200" b="1" dirty="0">
                <a:solidFill>
                  <a:schemeClr val="dk1"/>
                </a:solidFill>
              </a:rPr>
              <a:t>Fast feedback loops and lean processes, plus adaptive management accelerate weeding out of ineffective ideas and quick validation of those with promise</a:t>
            </a:r>
          </a:p>
          <a:p>
            <a:pPr lvl="0"/>
            <a:endParaRPr lang="en-GB" sz="1200" b="1" dirty="0">
              <a:solidFill>
                <a:schemeClr val="dk1"/>
              </a:solidFill>
            </a:endParaRPr>
          </a:p>
          <a:p>
            <a:pPr lvl="0"/>
            <a:r>
              <a:rPr lang="en-GB" sz="1200" b="1" dirty="0">
                <a:solidFill>
                  <a:schemeClr val="dk1"/>
                </a:solidFill>
              </a:rPr>
              <a:t>Tries to find ways to exponentially scale the best solutions.</a:t>
            </a:r>
          </a:p>
        </p:txBody>
      </p:sp>
    </p:spTree>
    <p:extLst>
      <p:ext uri="{BB962C8B-B14F-4D97-AF65-F5344CB8AC3E}">
        <p14:creationId xmlns:p14="http://schemas.microsoft.com/office/powerpoint/2010/main" val="158958218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Google Shape;258;p47"/>
          <p:cNvSpPr txBox="1">
            <a:spLocks noGrp="1"/>
          </p:cNvSpPr>
          <p:nvPr>
            <p:ph type="body" idx="2"/>
          </p:nvPr>
        </p:nvSpPr>
        <p:spPr>
          <a:xfrm>
            <a:off x="137350" y="622050"/>
            <a:ext cx="8758800" cy="405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buNone/>
            </a:pPr>
            <a:r>
              <a:rPr lang="en-AU" b="1" dirty="0"/>
              <a:t>Any Questions?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1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1" dirty="0"/>
          </a:p>
        </p:txBody>
      </p:sp>
    </p:spTree>
    <p:extLst>
      <p:ext uri="{BB962C8B-B14F-4D97-AF65-F5344CB8AC3E}">
        <p14:creationId xmlns:p14="http://schemas.microsoft.com/office/powerpoint/2010/main" val="334402033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361BB15B-86C1-43DD-BC71-0B2F34F0C4FF}"/>
              </a:ext>
            </a:extLst>
          </p:cNvPr>
          <p:cNvSpPr/>
          <p:nvPr/>
        </p:nvSpPr>
        <p:spPr>
          <a:xfrm>
            <a:off x="2474478" y="798701"/>
            <a:ext cx="2272937" cy="1836264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b="1" dirty="0">
                <a:solidFill>
                  <a:schemeClr val="tx1"/>
                </a:solidFill>
              </a:rPr>
              <a:t>Redefining Nutrition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8153CAF-DB23-45CD-9C2B-11C94015CC09}"/>
              </a:ext>
            </a:extLst>
          </p:cNvPr>
          <p:cNvSpPr/>
          <p:nvPr/>
        </p:nvSpPr>
        <p:spPr>
          <a:xfrm>
            <a:off x="4433284" y="815586"/>
            <a:ext cx="2323947" cy="1857982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b="1" dirty="0">
                <a:solidFill>
                  <a:schemeClr val="tx1"/>
                </a:solidFill>
              </a:rPr>
              <a:t>Changemakers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7CECF6A-1C37-4BC6-BA8E-7C534DF4FA2A}"/>
              </a:ext>
            </a:extLst>
          </p:cNvPr>
          <p:cNvSpPr/>
          <p:nvPr/>
        </p:nvSpPr>
        <p:spPr>
          <a:xfrm>
            <a:off x="3610946" y="2024211"/>
            <a:ext cx="2272937" cy="18362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b="1" dirty="0">
                <a:solidFill>
                  <a:schemeClr val="tx1"/>
                </a:solidFill>
              </a:rPr>
              <a:t>Data Driven Decision Making</a:t>
            </a:r>
          </a:p>
        </p:txBody>
      </p:sp>
      <p:pic>
        <p:nvPicPr>
          <p:cNvPr id="16" name="Picture 8" descr="https://lh6.googleusercontent.com/rFoob0r96X6gO2f7UojTRU032na1VIng7urIWZEWORlbqD0jvbbzvIXIM0EM_C0X2U2OuWs-htE7IpHHJe_vuPXRFPkoY6AMmmPdoqpFqJzcOGP0AMVZFkvs4NCCCLmf3ItD-C7kmSo">
            <a:extLst>
              <a:ext uri="{FF2B5EF4-FFF2-40B4-BE49-F238E27FC236}">
                <a16:creationId xmlns:a16="http://schemas.microsoft.com/office/drawing/2014/main" id="{86B4B5E2-AEFF-4D9F-8CDF-91E341849B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6317" y="3182594"/>
            <a:ext cx="709904" cy="709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D6EB26B-4EAC-4D02-9773-3E54632D11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11288" y="3725024"/>
            <a:ext cx="1283893" cy="270901"/>
          </a:xfrm>
          <a:prstGeom prst="rect">
            <a:avLst/>
          </a:prstGeom>
        </p:spPr>
      </p:pic>
      <p:pic>
        <p:nvPicPr>
          <p:cNvPr id="1046" name="Picture 22" descr="https://lh3.googleusercontent.com/QHzqTzESMhRgdrak5M77hCaCIaaWiyRBBZEPreTMKtlnkhfUF2t4_ha43FnEDM38iCdiObO7_L3l9_OHr_slAGxtskgbqMMaLRumLRkQw8MbsmZm6Xd8sQEvZAdn7-lJBum0FWVF-ro">
            <a:extLst>
              <a:ext uri="{FF2B5EF4-FFF2-40B4-BE49-F238E27FC236}">
                <a16:creationId xmlns:a16="http://schemas.microsoft.com/office/drawing/2014/main" id="{D24A718B-6C89-4258-876A-3AF5824628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0663" y="4183479"/>
            <a:ext cx="702673" cy="702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0" descr="https://lh6.googleusercontent.com/uS0D0qTZpue9La0mPcB0X-6_s-4uv3wQxtBsbiYJEfqpLzIPMx5IfdmbgPg_6SjPJ47uOuaHdA9Hy8IEY6W836zkUDK_JBhEr3NCoQkbTHICRDAvhZ8x63HJy0BOESyUde05qQkZyYs">
            <a:extLst>
              <a:ext uri="{FF2B5EF4-FFF2-40B4-BE49-F238E27FC236}">
                <a16:creationId xmlns:a16="http://schemas.microsoft.com/office/drawing/2014/main" id="{24ABFC9F-2617-430C-810A-2B5699C4B2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9243" y="4236475"/>
            <a:ext cx="722642" cy="722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C1A291B-5C29-4B98-BC7A-DD2F687B580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26229"/>
          <a:stretch/>
        </p:blipFill>
        <p:spPr>
          <a:xfrm>
            <a:off x="5159176" y="4284219"/>
            <a:ext cx="1272620" cy="418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4226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488641F-0F5D-46F4-B07D-BAF70A5A4A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488641F-0F5D-46F4-B07D-BAF70A5A4A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Picture 26">
            <a:extLst>
              <a:ext uri="{FF2B5EF4-FFF2-40B4-BE49-F238E27FC236}">
                <a16:creationId xmlns:a16="http://schemas.microsoft.com/office/drawing/2014/main" id="{C7EA6375-2E1A-C54F-BCAB-AB3852BE67C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26" y="627534"/>
            <a:ext cx="5940943" cy="4156457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27466E6E-262B-D445-8C72-F7E6D028152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20710815">
            <a:off x="6014684" y="1349740"/>
            <a:ext cx="2705100" cy="1900238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60FF2073-F8A4-A146-A54B-8CE1A3D87FE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3299" b="95660" l="8800" r="92400">
                        <a14:foregroundMark x1="31800" y1="6944" x2="51200" y2="5729"/>
                        <a14:foregroundMark x1="51200" y1="5729" x2="52000" y2="5729"/>
                        <a14:foregroundMark x1="48400" y1="3472" x2="42000" y2="3993"/>
                        <a14:foregroundMark x1="31800" y1="6250" x2="24800" y2="10764"/>
                        <a14:foregroundMark x1="24800" y1="10764" x2="17200" y2="13194"/>
                        <a14:foregroundMark x1="17200" y1="13194" x2="12800" y2="19097"/>
                        <a14:foregroundMark x1="12800" y1="19097" x2="13600" y2="22569"/>
                        <a14:foregroundMark x1="21800" y1="56597" x2="21400" y2="63889"/>
                        <a14:foregroundMark x1="21400" y1="63889" x2="18800" y2="68229"/>
                        <a14:foregroundMark x1="33000" y1="95660" x2="62800" y2="89757"/>
                        <a14:foregroundMark x1="40000" y1="30903" x2="52000" y2="29861"/>
                        <a14:foregroundMark x1="52000" y1="29861" x2="57400" y2="30035"/>
                        <a14:foregroundMark x1="41000" y1="38715" x2="47400" y2="44618"/>
                        <a14:foregroundMark x1="47400" y1="44618" x2="48200" y2="44965"/>
                        <a14:foregroundMark x1="80200" y1="7118" x2="87800" y2="15451"/>
                        <a14:foregroundMark x1="88400" y1="5903" x2="92400" y2="17708"/>
                        <a14:foregroundMark x1="92400" y1="17708" x2="91800" y2="17361"/>
                        <a14:foregroundMark x1="13800" y1="64410" x2="8800" y2="7118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12360" y="465516"/>
            <a:ext cx="833527" cy="960223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DB74AF0D-48DC-C045-92D1-0636597ECEDA}"/>
              </a:ext>
            </a:extLst>
          </p:cNvPr>
          <p:cNvSpPr txBox="1"/>
          <p:nvPr/>
        </p:nvSpPr>
        <p:spPr>
          <a:xfrm>
            <a:off x="6313347" y="3774301"/>
            <a:ext cx="22447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buClrTx/>
            </a:pPr>
            <a:r>
              <a:rPr lang="en-US" sz="2700" b="1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Data Driven Decision Team</a:t>
            </a:r>
          </a:p>
        </p:txBody>
      </p:sp>
    </p:spTree>
    <p:extLst>
      <p:ext uri="{BB962C8B-B14F-4D97-AF65-F5344CB8AC3E}">
        <p14:creationId xmlns:p14="http://schemas.microsoft.com/office/powerpoint/2010/main" val="59320944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488641F-0F5D-46F4-B07D-BAF70A5A4A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488641F-0F5D-46F4-B07D-BAF70A5A4A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6">
            <a:extLst>
              <a:ext uri="{FF2B5EF4-FFF2-40B4-BE49-F238E27FC236}">
                <a16:creationId xmlns:a16="http://schemas.microsoft.com/office/drawing/2014/main" id="{81DA04DF-CF5D-3349-9160-1E1F43D61B27}"/>
              </a:ext>
            </a:extLst>
          </p:cNvPr>
          <p:cNvSpPr txBox="1">
            <a:spLocks/>
          </p:cNvSpPr>
          <p:nvPr/>
        </p:nvSpPr>
        <p:spPr>
          <a:xfrm>
            <a:off x="220319" y="315433"/>
            <a:ext cx="8555868" cy="249299"/>
          </a:xfrm>
          <a:prstGeom prst="rect">
            <a:avLst/>
          </a:prstGeom>
        </p:spPr>
        <p:txBody>
          <a:bodyPr vert="horz" lIns="68580" tIns="34290" rIns="68580" bIns="3429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685800">
              <a:buClrTx/>
            </a:pPr>
            <a:r>
              <a:rPr lang="en-US" sz="2400" b="1" dirty="0">
                <a:solidFill>
                  <a:prstClr val="black"/>
                </a:solidFill>
                <a:latin typeface="Calibri Light"/>
              </a:rPr>
              <a:t>Background</a:t>
            </a:r>
          </a:p>
        </p:txBody>
      </p:sp>
      <p:cxnSp>
        <p:nvCxnSpPr>
          <p:cNvPr id="7" name="Google Shape;68;p15">
            <a:extLst>
              <a:ext uri="{FF2B5EF4-FFF2-40B4-BE49-F238E27FC236}">
                <a16:creationId xmlns:a16="http://schemas.microsoft.com/office/drawing/2014/main" id="{4A0404AA-4B72-F744-BE48-F8B1834F2404}"/>
              </a:ext>
            </a:extLst>
          </p:cNvPr>
          <p:cNvCxnSpPr>
            <a:cxnSpLocks/>
          </p:cNvCxnSpPr>
          <p:nvPr/>
        </p:nvCxnSpPr>
        <p:spPr>
          <a:xfrm>
            <a:off x="228600" y="550801"/>
            <a:ext cx="8690883" cy="0"/>
          </a:xfrm>
          <a:prstGeom prst="straightConnector1">
            <a:avLst/>
          </a:prstGeom>
          <a:noFill/>
          <a:ln w="9525" cap="flat" cmpd="sng">
            <a:solidFill>
              <a:srgbClr val="43434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9CA86831-FB0B-AD49-8D09-D3AA53D4718A}"/>
              </a:ext>
            </a:extLst>
          </p:cNvPr>
          <p:cNvSpPr txBox="1"/>
          <p:nvPr/>
        </p:nvSpPr>
        <p:spPr>
          <a:xfrm>
            <a:off x="0" y="4072376"/>
            <a:ext cx="9144000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 anchor="ctr">
            <a:spAutoFit/>
          </a:bodyPr>
          <a:lstStyle/>
          <a:p>
            <a:pPr algn="ctr" defTabSz="685800">
              <a:buClrTx/>
            </a:pPr>
            <a:r>
              <a:rPr lang="en-US" sz="2100" b="1" kern="1200" dirty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The problem gets compounded when tackling critical subjects such as malnutrition where accurate, real-time, intervention is absolutely necessary!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AE9C148-96CD-FE46-9151-3E4EAF543543}"/>
              </a:ext>
            </a:extLst>
          </p:cNvPr>
          <p:cNvSpPr txBox="1"/>
          <p:nvPr/>
        </p:nvSpPr>
        <p:spPr>
          <a:xfrm>
            <a:off x="2341156" y="2113701"/>
            <a:ext cx="1265968" cy="408623"/>
          </a:xfrm>
          <a:prstGeom prst="roundRect">
            <a:avLst/>
          </a:prstGeom>
          <a:solidFill>
            <a:srgbClr val="B43329"/>
          </a:solidFill>
        </p:spPr>
        <p:txBody>
          <a:bodyPr wrap="none" rtlCol="0">
            <a:spAutoFit/>
          </a:bodyPr>
          <a:lstStyle/>
          <a:p>
            <a:pPr defTabSz="685800">
              <a:buClrTx/>
            </a:pPr>
            <a:r>
              <a:rPr lang="en-US" sz="1800" kern="1200" dirty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Insufficie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CBFEF6C-2978-1C42-ADF3-DE9C13844E0E}"/>
              </a:ext>
            </a:extLst>
          </p:cNvPr>
          <p:cNvSpPr txBox="1"/>
          <p:nvPr/>
        </p:nvSpPr>
        <p:spPr>
          <a:xfrm>
            <a:off x="2793383" y="2726102"/>
            <a:ext cx="1106361" cy="408623"/>
          </a:xfrm>
          <a:prstGeom prst="roundRect">
            <a:avLst/>
          </a:prstGeom>
          <a:solidFill>
            <a:srgbClr val="B43329"/>
          </a:solidFill>
        </p:spPr>
        <p:txBody>
          <a:bodyPr wrap="none" rtlCol="0">
            <a:spAutoFit/>
          </a:bodyPr>
          <a:lstStyle/>
          <a:p>
            <a:pPr defTabSz="685800">
              <a:buClrTx/>
            </a:pPr>
            <a:r>
              <a:rPr lang="en-US" sz="1800" kern="1200" dirty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Outdated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B81D3A5-5D98-374A-AAC7-90EB74300CCA}"/>
              </a:ext>
            </a:extLst>
          </p:cNvPr>
          <p:cNvSpPr txBox="1"/>
          <p:nvPr/>
        </p:nvSpPr>
        <p:spPr>
          <a:xfrm>
            <a:off x="2795403" y="1518634"/>
            <a:ext cx="1103853" cy="408623"/>
          </a:xfrm>
          <a:prstGeom prst="roundRect">
            <a:avLst/>
          </a:prstGeom>
          <a:solidFill>
            <a:srgbClr val="B43329"/>
          </a:solidFill>
        </p:spPr>
        <p:txBody>
          <a:bodyPr wrap="none" rtlCol="0">
            <a:spAutoFit/>
          </a:bodyPr>
          <a:lstStyle/>
          <a:p>
            <a:pPr defTabSz="685800">
              <a:buClrTx/>
            </a:pPr>
            <a:r>
              <a:rPr lang="en-US" sz="1800" kern="1200" dirty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Scattered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99724D2-2D4D-D049-9B5B-1AD315261D8A}"/>
              </a:ext>
            </a:extLst>
          </p:cNvPr>
          <p:cNvSpPr txBox="1"/>
          <p:nvPr/>
        </p:nvSpPr>
        <p:spPr>
          <a:xfrm>
            <a:off x="4849619" y="1518633"/>
            <a:ext cx="1184680" cy="408623"/>
          </a:xfrm>
          <a:prstGeom prst="roundRect">
            <a:avLst/>
          </a:prstGeom>
          <a:solidFill>
            <a:srgbClr val="B43329"/>
          </a:solidFill>
        </p:spPr>
        <p:txBody>
          <a:bodyPr wrap="none" rtlCol="0">
            <a:spAutoFit/>
          </a:bodyPr>
          <a:lstStyle/>
          <a:p>
            <a:pPr defTabSz="685800">
              <a:buClrTx/>
            </a:pPr>
            <a:r>
              <a:rPr lang="en-US" sz="1800" kern="1200" dirty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Not Public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DE9114E-294E-5248-90C5-7D8DF3C5C273}"/>
              </a:ext>
            </a:extLst>
          </p:cNvPr>
          <p:cNvSpPr txBox="1"/>
          <p:nvPr/>
        </p:nvSpPr>
        <p:spPr>
          <a:xfrm>
            <a:off x="3707904" y="951571"/>
            <a:ext cx="1346332" cy="408623"/>
          </a:xfrm>
          <a:prstGeom prst="roundRect">
            <a:avLst/>
          </a:prstGeom>
          <a:solidFill>
            <a:srgbClr val="B43329"/>
          </a:solidFill>
        </p:spPr>
        <p:txBody>
          <a:bodyPr wrap="none" rtlCol="0">
            <a:spAutoFit/>
          </a:bodyPr>
          <a:lstStyle/>
          <a:p>
            <a:pPr defTabSz="685800">
              <a:buClrTx/>
            </a:pPr>
            <a:r>
              <a:rPr lang="en-US" sz="1800" kern="1200" dirty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Inaccessib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70A0A9A-BBD8-A24F-A73F-FD10A9118B1D}"/>
              </a:ext>
            </a:extLst>
          </p:cNvPr>
          <p:cNvSpPr txBox="1"/>
          <p:nvPr/>
        </p:nvSpPr>
        <p:spPr>
          <a:xfrm>
            <a:off x="5322500" y="2113700"/>
            <a:ext cx="1194906" cy="408623"/>
          </a:xfrm>
          <a:prstGeom prst="roundRect">
            <a:avLst/>
          </a:prstGeom>
          <a:solidFill>
            <a:srgbClr val="B43329"/>
          </a:solidFill>
        </p:spPr>
        <p:txBody>
          <a:bodyPr wrap="none" rtlCol="0">
            <a:spAutoFit/>
          </a:bodyPr>
          <a:lstStyle/>
          <a:p>
            <a:pPr defTabSz="685800">
              <a:buClrTx/>
            </a:pPr>
            <a:r>
              <a:rPr lang="en-US" sz="1800" kern="1200" dirty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Unverified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155865F-299F-6E46-85B0-5DEE974F81C9}"/>
              </a:ext>
            </a:extLst>
          </p:cNvPr>
          <p:cNvSpPr txBox="1"/>
          <p:nvPr/>
        </p:nvSpPr>
        <p:spPr>
          <a:xfrm>
            <a:off x="3964841" y="3224864"/>
            <a:ext cx="872801" cy="408623"/>
          </a:xfrm>
          <a:prstGeom prst="roundRect">
            <a:avLst/>
          </a:prstGeom>
          <a:solidFill>
            <a:srgbClr val="B43329"/>
          </a:solidFill>
        </p:spPr>
        <p:txBody>
          <a:bodyPr wrap="none" rtlCol="0">
            <a:spAutoFit/>
          </a:bodyPr>
          <a:lstStyle/>
          <a:p>
            <a:pPr defTabSz="685800">
              <a:buClrTx/>
            </a:pPr>
            <a:r>
              <a:rPr lang="en-US" sz="1800" kern="1200" dirty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In Silo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B32916E-2221-1E4A-98C9-D7B5D12702B0}"/>
              </a:ext>
            </a:extLst>
          </p:cNvPr>
          <p:cNvSpPr txBox="1"/>
          <p:nvPr/>
        </p:nvSpPr>
        <p:spPr>
          <a:xfrm>
            <a:off x="4914450" y="2711807"/>
            <a:ext cx="1336632" cy="408623"/>
          </a:xfrm>
          <a:prstGeom prst="roundRect">
            <a:avLst/>
          </a:prstGeom>
          <a:solidFill>
            <a:srgbClr val="B43329"/>
          </a:solidFill>
        </p:spPr>
        <p:txBody>
          <a:bodyPr wrap="none" rtlCol="0">
            <a:spAutoFit/>
          </a:bodyPr>
          <a:lstStyle/>
          <a:p>
            <a:pPr defTabSz="685800">
              <a:buClrTx/>
            </a:pPr>
            <a:r>
              <a:rPr lang="en-US" sz="1800" kern="1200" dirty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No Integrity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7794E8C-71F1-AA40-BBB6-003D7EC45720}"/>
              </a:ext>
            </a:extLst>
          </p:cNvPr>
          <p:cNvSpPr/>
          <p:nvPr/>
        </p:nvSpPr>
        <p:spPr>
          <a:xfrm>
            <a:off x="3734908" y="1766702"/>
            <a:ext cx="1261403" cy="1161129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US" sz="2700" kern="1200" dirty="0">
                <a:solidFill>
                  <a:prstClr val="white"/>
                </a:solidFill>
                <a:latin typeface="Calibri"/>
              </a:rPr>
              <a:t>DATA</a:t>
            </a:r>
          </a:p>
        </p:txBody>
      </p:sp>
    </p:spTree>
    <p:extLst>
      <p:ext uri="{BB962C8B-B14F-4D97-AF65-F5344CB8AC3E}">
        <p14:creationId xmlns:p14="http://schemas.microsoft.com/office/powerpoint/2010/main" val="118537928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488641F-0F5D-46F4-B07D-BAF70A5A4A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488641F-0F5D-46F4-B07D-BAF70A5A4A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6">
            <a:extLst>
              <a:ext uri="{FF2B5EF4-FFF2-40B4-BE49-F238E27FC236}">
                <a16:creationId xmlns:a16="http://schemas.microsoft.com/office/drawing/2014/main" id="{81DA04DF-CF5D-3349-9160-1E1F43D61B27}"/>
              </a:ext>
            </a:extLst>
          </p:cNvPr>
          <p:cNvSpPr txBox="1">
            <a:spLocks/>
          </p:cNvSpPr>
          <p:nvPr/>
        </p:nvSpPr>
        <p:spPr>
          <a:xfrm>
            <a:off x="228600" y="322201"/>
            <a:ext cx="6198665" cy="249299"/>
          </a:xfrm>
          <a:prstGeom prst="rect">
            <a:avLst/>
          </a:prstGeom>
        </p:spPr>
        <p:txBody>
          <a:bodyPr vert="horz" lIns="68580" tIns="34290" rIns="68580" bIns="3429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685800">
              <a:buClrTx/>
            </a:pPr>
            <a:r>
              <a:rPr lang="en-US" sz="27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Setting the Scene</a:t>
            </a:r>
          </a:p>
        </p:txBody>
      </p:sp>
      <p:cxnSp>
        <p:nvCxnSpPr>
          <p:cNvPr id="7" name="Google Shape;68;p15">
            <a:extLst>
              <a:ext uri="{FF2B5EF4-FFF2-40B4-BE49-F238E27FC236}">
                <a16:creationId xmlns:a16="http://schemas.microsoft.com/office/drawing/2014/main" id="{4A0404AA-4B72-F744-BE48-F8B1834F2404}"/>
              </a:ext>
            </a:extLst>
          </p:cNvPr>
          <p:cNvCxnSpPr>
            <a:cxnSpLocks/>
          </p:cNvCxnSpPr>
          <p:nvPr/>
        </p:nvCxnSpPr>
        <p:spPr>
          <a:xfrm>
            <a:off x="228600" y="550801"/>
            <a:ext cx="8690883" cy="0"/>
          </a:xfrm>
          <a:prstGeom prst="straightConnector1">
            <a:avLst/>
          </a:prstGeom>
          <a:noFill/>
          <a:ln w="9525" cap="flat" cmpd="sng">
            <a:solidFill>
              <a:srgbClr val="434343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BC715635-F622-8C47-8059-DD49C1BF3AB6}"/>
              </a:ext>
            </a:extLst>
          </p:cNvPr>
          <p:cNvGrpSpPr/>
          <p:nvPr/>
        </p:nvGrpSpPr>
        <p:grpSpPr>
          <a:xfrm>
            <a:off x="313906" y="706734"/>
            <a:ext cx="387974" cy="973918"/>
            <a:chOff x="304800" y="1066800"/>
            <a:chExt cx="525144" cy="1368152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64D8C17D-62E1-654E-B52B-E6086F56DB2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0000" l="27726" r="52895"/>
                      </a14:imgEffect>
                    </a14:imgLayer>
                  </a14:imgProps>
                </a:ext>
              </a:extLst>
            </a:blip>
            <a:srcRect l="24580" r="43959"/>
            <a:stretch/>
          </p:blipFill>
          <p:spPr>
            <a:xfrm>
              <a:off x="304800" y="1066800"/>
              <a:ext cx="525144" cy="1368152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C07ED8BB-38E3-2E4E-BE79-C5ACC6A733F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10000" b="90000" l="10000" r="9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35360" y="1370586"/>
              <a:ext cx="315424" cy="150202"/>
            </a:xfrm>
            <a:prstGeom prst="rect">
              <a:avLst/>
            </a:prstGeom>
          </p:spPr>
        </p:pic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D6FB4225-A669-D941-B9A0-B6A259649F0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71463" y="1680652"/>
            <a:ext cx="789692" cy="64728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7EA20B1-BE73-7243-BF5E-84BB31D264D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89465" y="2505018"/>
            <a:ext cx="789692" cy="79581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8736199-37CD-8B46-9810-A3B5C31FF4A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32561" y="3273828"/>
            <a:ext cx="858863" cy="85886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1204347C-32F8-BF4D-B755-A1123537F635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47165" b="5775"/>
          <a:stretch/>
        </p:blipFill>
        <p:spPr>
          <a:xfrm>
            <a:off x="336994" y="4137925"/>
            <a:ext cx="481589" cy="858863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CF00CE60-112A-1842-AA52-78F61AC3D385}"/>
              </a:ext>
            </a:extLst>
          </p:cNvPr>
          <p:cNvSpPr txBox="1"/>
          <p:nvPr/>
        </p:nvSpPr>
        <p:spPr>
          <a:xfrm>
            <a:off x="1269171" y="1068071"/>
            <a:ext cx="765031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buClrTx/>
            </a:pPr>
            <a:r>
              <a:rPr lang="en-US" sz="210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- </a:t>
            </a:r>
            <a:r>
              <a:rPr lang="en-US" sz="2100" b="1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Rani is not aware </a:t>
            </a:r>
            <a:r>
              <a:rPr lang="en-US" sz="210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about the right nutrition, health &amp; sanitation</a:t>
            </a:r>
          </a:p>
          <a:p>
            <a:pPr defTabSz="685800">
              <a:buClrTx/>
            </a:pPr>
            <a:endParaRPr lang="en-US" sz="2100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defTabSz="685800">
              <a:buClrTx/>
            </a:pPr>
            <a:r>
              <a:rPr lang="en-US" sz="210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- </a:t>
            </a:r>
            <a:r>
              <a:rPr lang="en-US" sz="2100" b="1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The family doesn’t know </a:t>
            </a:r>
            <a:r>
              <a:rPr lang="en-US" sz="210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if the growth of the baby is on track</a:t>
            </a:r>
          </a:p>
          <a:p>
            <a:pPr defTabSz="685800">
              <a:buClrTx/>
            </a:pPr>
            <a:endParaRPr lang="en-US" sz="2100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defTabSz="685800">
              <a:buClrTx/>
            </a:pPr>
            <a:r>
              <a:rPr lang="en-US" sz="210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- </a:t>
            </a:r>
            <a:r>
              <a:rPr lang="en-US" sz="2100" b="1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The Community is unaware </a:t>
            </a:r>
            <a:r>
              <a:rPr lang="en-US" sz="210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about their current nutrition, health, wash status</a:t>
            </a:r>
          </a:p>
          <a:p>
            <a:pPr defTabSz="685800">
              <a:buClrTx/>
            </a:pPr>
            <a:endParaRPr lang="en-US" sz="2100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defTabSz="685800">
              <a:buClrTx/>
            </a:pPr>
            <a:r>
              <a:rPr lang="en-US" sz="210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- </a:t>
            </a:r>
            <a:r>
              <a:rPr lang="en-US" sz="2100" b="1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The donor is not aware </a:t>
            </a:r>
            <a:r>
              <a:rPr lang="en-US" sz="210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of where the gaps are and the real time impact/progress</a:t>
            </a:r>
          </a:p>
          <a:p>
            <a:pPr defTabSz="685800">
              <a:buClrTx/>
            </a:pPr>
            <a:endParaRPr lang="en-US" sz="2100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  <a:p>
            <a:pPr defTabSz="685800">
              <a:buClrTx/>
            </a:pPr>
            <a:r>
              <a:rPr lang="en-US" sz="210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- </a:t>
            </a:r>
            <a:r>
              <a:rPr lang="en-US" sz="2100" b="1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The policy maker don’t have enough actionable data </a:t>
            </a:r>
            <a:r>
              <a:rPr lang="en-US" sz="210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for policy intervention  </a:t>
            </a:r>
          </a:p>
        </p:txBody>
      </p:sp>
    </p:spTree>
    <p:extLst>
      <p:ext uri="{BB962C8B-B14F-4D97-AF65-F5344CB8AC3E}">
        <p14:creationId xmlns:p14="http://schemas.microsoft.com/office/powerpoint/2010/main" val="170399653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488641F-0F5D-46F4-B07D-BAF70A5A4A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488641F-0F5D-46F4-B07D-BAF70A5A4A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oogle Shape;68;p15">
            <a:extLst>
              <a:ext uri="{FF2B5EF4-FFF2-40B4-BE49-F238E27FC236}">
                <a16:creationId xmlns:a16="http://schemas.microsoft.com/office/drawing/2014/main" id="{4A0404AA-4B72-F744-BE48-F8B1834F2404}"/>
              </a:ext>
            </a:extLst>
          </p:cNvPr>
          <p:cNvCxnSpPr>
            <a:cxnSpLocks/>
          </p:cNvCxnSpPr>
          <p:nvPr/>
        </p:nvCxnSpPr>
        <p:spPr>
          <a:xfrm>
            <a:off x="228600" y="550801"/>
            <a:ext cx="8690883" cy="0"/>
          </a:xfrm>
          <a:prstGeom prst="straightConnector1">
            <a:avLst/>
          </a:prstGeom>
          <a:noFill/>
          <a:ln w="9525" cap="flat" cmpd="sng">
            <a:solidFill>
              <a:srgbClr val="434343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1" name="Group">
            <a:extLst>
              <a:ext uri="{FF2B5EF4-FFF2-40B4-BE49-F238E27FC236}">
                <a16:creationId xmlns:a16="http://schemas.microsoft.com/office/drawing/2014/main" id="{FBF310D1-F736-6641-B594-B7CD0FEE5D91}"/>
              </a:ext>
            </a:extLst>
          </p:cNvPr>
          <p:cNvGrpSpPr>
            <a:grpSpLocks/>
          </p:cNvGrpSpPr>
          <p:nvPr/>
        </p:nvGrpSpPr>
        <p:grpSpPr bwMode="auto">
          <a:xfrm>
            <a:off x="1240284" y="2403688"/>
            <a:ext cx="6734095" cy="1930974"/>
            <a:chOff x="0" y="0"/>
            <a:chExt cx="12769261" cy="3660495"/>
          </a:xfrm>
        </p:grpSpPr>
        <p:pic>
          <p:nvPicPr>
            <p:cNvPr id="12" name="image.jpeg" descr="image.jpeg">
              <a:extLst>
                <a:ext uri="{FF2B5EF4-FFF2-40B4-BE49-F238E27FC236}">
                  <a16:creationId xmlns:a16="http://schemas.microsoft.com/office/drawing/2014/main" id="{57A0FD52-A913-A449-89CE-D6FE26DA716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4663" b="36668"/>
            <a:stretch>
              <a:fillRect/>
            </a:stretch>
          </p:blipFill>
          <p:spPr bwMode="auto">
            <a:xfrm>
              <a:off x="0" y="0"/>
              <a:ext cx="12769262" cy="36604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</a:extLst>
          </p:spPr>
        </p:pic>
        <p:sp>
          <p:nvSpPr>
            <p:cNvPr id="13" name="Rectangle">
              <a:extLst>
                <a:ext uri="{FF2B5EF4-FFF2-40B4-BE49-F238E27FC236}">
                  <a16:creationId xmlns:a16="http://schemas.microsoft.com/office/drawing/2014/main" id="{F6CF84FD-9041-884D-B668-AB085CC4AB33}"/>
                </a:ext>
              </a:extLst>
            </p:cNvPr>
            <p:cNvSpPr/>
            <p:nvPr/>
          </p:nvSpPr>
          <p:spPr>
            <a:xfrm>
              <a:off x="1344133" y="1622334"/>
              <a:ext cx="1159724" cy="370761"/>
            </a:xfrm>
            <a:prstGeom prst="rect">
              <a:avLst/>
            </a:prstGeom>
            <a:solidFill>
              <a:srgbClr val="475967"/>
            </a:solidFill>
            <a:ln w="12700" cap="flat">
              <a:noFill/>
              <a:miter lim="400000"/>
            </a:ln>
            <a:effectLst/>
          </p:spPr>
          <p:txBody>
            <a:bodyPr lIns="29321" tIns="29321" rIns="29321" bIns="29321" anchor="ctr"/>
            <a:lstStyle/>
            <a:p>
              <a:pPr defTabSz="622400">
                <a:buClrTx/>
                <a:defRPr sz="2200" b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1160" kern="1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Rectangle">
              <a:extLst>
                <a:ext uri="{FF2B5EF4-FFF2-40B4-BE49-F238E27FC236}">
                  <a16:creationId xmlns:a16="http://schemas.microsoft.com/office/drawing/2014/main" id="{87E41540-E40C-1143-9187-C8CE06BFCAAE}"/>
                </a:ext>
              </a:extLst>
            </p:cNvPr>
            <p:cNvSpPr/>
            <p:nvPr/>
          </p:nvSpPr>
          <p:spPr>
            <a:xfrm>
              <a:off x="6624361" y="1622334"/>
              <a:ext cx="1157676" cy="370761"/>
            </a:xfrm>
            <a:prstGeom prst="rect">
              <a:avLst/>
            </a:prstGeom>
            <a:solidFill>
              <a:srgbClr val="475967"/>
            </a:solidFill>
            <a:ln w="12700" cap="flat">
              <a:noFill/>
              <a:miter lim="400000"/>
            </a:ln>
            <a:effectLst/>
          </p:spPr>
          <p:txBody>
            <a:bodyPr lIns="29321" tIns="29321" rIns="29321" bIns="29321" anchor="ctr"/>
            <a:lstStyle/>
            <a:p>
              <a:pPr defTabSz="622400">
                <a:buClrTx/>
                <a:defRPr sz="2200" b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1160" kern="1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Rectangle">
              <a:extLst>
                <a:ext uri="{FF2B5EF4-FFF2-40B4-BE49-F238E27FC236}">
                  <a16:creationId xmlns:a16="http://schemas.microsoft.com/office/drawing/2014/main" id="{14B47A6D-B787-BC4B-AE1A-D39783E5A6FB}"/>
                </a:ext>
              </a:extLst>
            </p:cNvPr>
            <p:cNvSpPr/>
            <p:nvPr/>
          </p:nvSpPr>
          <p:spPr>
            <a:xfrm>
              <a:off x="3155434" y="1622334"/>
              <a:ext cx="1159724" cy="370761"/>
            </a:xfrm>
            <a:prstGeom prst="rect">
              <a:avLst/>
            </a:prstGeom>
            <a:solidFill>
              <a:srgbClr val="EF6565"/>
            </a:solidFill>
            <a:ln w="12700" cap="flat">
              <a:noFill/>
              <a:miter lim="400000"/>
            </a:ln>
            <a:effectLst/>
          </p:spPr>
          <p:txBody>
            <a:bodyPr lIns="29321" tIns="29321" rIns="29321" bIns="29321" anchor="ctr"/>
            <a:lstStyle/>
            <a:p>
              <a:pPr defTabSz="622400">
                <a:buClrTx/>
                <a:defRPr sz="2200" b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1160" kern="1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Rectangle">
              <a:extLst>
                <a:ext uri="{FF2B5EF4-FFF2-40B4-BE49-F238E27FC236}">
                  <a16:creationId xmlns:a16="http://schemas.microsoft.com/office/drawing/2014/main" id="{E234D7A5-50AB-C84B-8D44-8A0D88DA8083}"/>
                </a:ext>
              </a:extLst>
            </p:cNvPr>
            <p:cNvSpPr/>
            <p:nvPr/>
          </p:nvSpPr>
          <p:spPr>
            <a:xfrm>
              <a:off x="4860187" y="1622334"/>
              <a:ext cx="1159724" cy="370761"/>
            </a:xfrm>
            <a:prstGeom prst="rect">
              <a:avLst/>
            </a:prstGeom>
            <a:solidFill>
              <a:srgbClr val="4AB8A1"/>
            </a:solidFill>
            <a:ln w="12700" cap="flat">
              <a:noFill/>
              <a:miter lim="400000"/>
            </a:ln>
            <a:effectLst/>
          </p:spPr>
          <p:txBody>
            <a:bodyPr lIns="29321" tIns="29321" rIns="29321" bIns="29321" anchor="ctr"/>
            <a:lstStyle/>
            <a:p>
              <a:pPr defTabSz="622400">
                <a:buClrTx/>
                <a:defRPr sz="2200" b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1160" kern="1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Rectangle">
              <a:extLst>
                <a:ext uri="{FF2B5EF4-FFF2-40B4-BE49-F238E27FC236}">
                  <a16:creationId xmlns:a16="http://schemas.microsoft.com/office/drawing/2014/main" id="{D643C9A5-B0FB-3E4C-BB49-E027E3D34439}"/>
                </a:ext>
              </a:extLst>
            </p:cNvPr>
            <p:cNvSpPr/>
            <p:nvPr/>
          </p:nvSpPr>
          <p:spPr>
            <a:xfrm>
              <a:off x="10169101" y="1622334"/>
              <a:ext cx="1159724" cy="370761"/>
            </a:xfrm>
            <a:prstGeom prst="rect">
              <a:avLst/>
            </a:prstGeom>
            <a:solidFill>
              <a:srgbClr val="4AB8A1"/>
            </a:solidFill>
            <a:ln w="12700" cap="flat">
              <a:noFill/>
              <a:miter lim="400000"/>
            </a:ln>
            <a:effectLst/>
          </p:spPr>
          <p:txBody>
            <a:bodyPr lIns="29321" tIns="29321" rIns="29321" bIns="29321" anchor="ctr"/>
            <a:lstStyle/>
            <a:p>
              <a:pPr defTabSz="622400">
                <a:buClrTx/>
                <a:defRPr sz="2200" b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1160" kern="1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Rectangle">
              <a:extLst>
                <a:ext uri="{FF2B5EF4-FFF2-40B4-BE49-F238E27FC236}">
                  <a16:creationId xmlns:a16="http://schemas.microsoft.com/office/drawing/2014/main" id="{83CA07C1-B230-DB42-8384-9B51C5E93884}"/>
                </a:ext>
              </a:extLst>
            </p:cNvPr>
            <p:cNvSpPr/>
            <p:nvPr/>
          </p:nvSpPr>
          <p:spPr>
            <a:xfrm>
              <a:off x="8445907" y="1622334"/>
              <a:ext cx="1161773" cy="370761"/>
            </a:xfrm>
            <a:prstGeom prst="rect">
              <a:avLst/>
            </a:prstGeom>
            <a:solidFill>
              <a:srgbClr val="EF6565"/>
            </a:solidFill>
            <a:ln w="12700" cap="flat">
              <a:noFill/>
              <a:miter lim="400000"/>
            </a:ln>
            <a:effectLst/>
          </p:spPr>
          <p:txBody>
            <a:bodyPr lIns="29321" tIns="29321" rIns="29321" bIns="29321" anchor="ctr"/>
            <a:lstStyle/>
            <a:p>
              <a:pPr defTabSz="622400">
                <a:buClrTx/>
                <a:defRPr sz="2200" b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1160" kern="1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9" name="Group">
            <a:extLst>
              <a:ext uri="{FF2B5EF4-FFF2-40B4-BE49-F238E27FC236}">
                <a16:creationId xmlns:a16="http://schemas.microsoft.com/office/drawing/2014/main" id="{2281F3E6-B4DE-9540-89F6-013A6B0694F6}"/>
              </a:ext>
            </a:extLst>
          </p:cNvPr>
          <p:cNvGrpSpPr>
            <a:grpSpLocks/>
          </p:cNvGrpSpPr>
          <p:nvPr/>
        </p:nvGrpSpPr>
        <p:grpSpPr bwMode="auto">
          <a:xfrm>
            <a:off x="1038570" y="1426855"/>
            <a:ext cx="1103160" cy="865535"/>
            <a:chOff x="-428054" y="0"/>
            <a:chExt cx="2094196" cy="1641046"/>
          </a:xfrm>
        </p:grpSpPr>
        <p:sp>
          <p:nvSpPr>
            <p:cNvPr id="20" name="Rectangle">
              <a:extLst>
                <a:ext uri="{FF2B5EF4-FFF2-40B4-BE49-F238E27FC236}">
                  <a16:creationId xmlns:a16="http://schemas.microsoft.com/office/drawing/2014/main" id="{AF2C81B0-1818-E045-93C9-699E9669FCDE}"/>
                </a:ext>
              </a:extLst>
            </p:cNvPr>
            <p:cNvSpPr/>
            <p:nvPr/>
          </p:nvSpPr>
          <p:spPr>
            <a:xfrm>
              <a:off x="-333054" y="0"/>
              <a:ext cx="1908458" cy="1641046"/>
            </a:xfrm>
            <a:prstGeom prst="rect">
              <a:avLst/>
            </a:prstGeom>
            <a:solidFill>
              <a:srgbClr val="475967"/>
            </a:solidFill>
            <a:ln w="12700" cap="flat">
              <a:noFill/>
              <a:miter lim="400000"/>
            </a:ln>
            <a:effectLst/>
          </p:spPr>
          <p:txBody>
            <a:bodyPr lIns="29321" tIns="29321" rIns="29321" bIns="29321" anchor="ctr"/>
            <a:lstStyle/>
            <a:p>
              <a:pPr defTabSz="622400">
                <a:buClrTx/>
                <a:defRPr sz="22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1160" kern="1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Baseline Data collection">
              <a:extLst>
                <a:ext uri="{FF2B5EF4-FFF2-40B4-BE49-F238E27FC236}">
                  <a16:creationId xmlns:a16="http://schemas.microsoft.com/office/drawing/2014/main" id="{87CBFC8B-E3F6-064D-A7E9-03CD433C73FC}"/>
                </a:ext>
              </a:extLst>
            </p:cNvPr>
            <p:cNvSpPr txBox="1"/>
            <p:nvPr/>
          </p:nvSpPr>
          <p:spPr>
            <a:xfrm>
              <a:off x="-428054" y="280239"/>
              <a:ext cx="2094196" cy="112763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/>
            </a:extLst>
          </p:spPr>
          <p:txBody>
            <a:bodyPr wrap="square" lIns="29321" tIns="29321" rIns="29321" bIns="29321" anchor="ctr">
              <a:spAutoFit/>
            </a:bodyPr>
            <a:lstStyle>
              <a:lvl1pPr defTabSz="1180267">
                <a:defRPr sz="22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algn="ctr" defTabSz="885200">
                <a:buClrTx/>
                <a:defRPr/>
              </a:pPr>
              <a:r>
                <a:rPr sz="1160" kern="1200" dirty="0"/>
                <a:t>Baseline Data collection</a:t>
              </a:r>
              <a:r>
                <a:rPr lang="en-GB" sz="1160" kern="1200" dirty="0"/>
                <a:t> and GIS mapping</a:t>
              </a:r>
              <a:endParaRPr sz="1160" kern="1200" dirty="0"/>
            </a:p>
          </p:txBody>
        </p:sp>
      </p:grpSp>
      <p:grpSp>
        <p:nvGrpSpPr>
          <p:cNvPr id="22" name="Group">
            <a:extLst>
              <a:ext uri="{FF2B5EF4-FFF2-40B4-BE49-F238E27FC236}">
                <a16:creationId xmlns:a16="http://schemas.microsoft.com/office/drawing/2014/main" id="{DB2A741E-F2C8-6842-82D9-2C63BABE1A20}"/>
              </a:ext>
            </a:extLst>
          </p:cNvPr>
          <p:cNvGrpSpPr>
            <a:grpSpLocks/>
          </p:cNvGrpSpPr>
          <p:nvPr/>
        </p:nvGrpSpPr>
        <p:grpSpPr bwMode="auto">
          <a:xfrm>
            <a:off x="2395409" y="1426855"/>
            <a:ext cx="1124871" cy="867696"/>
            <a:chOff x="0" y="0"/>
            <a:chExt cx="2131429" cy="1644907"/>
          </a:xfrm>
        </p:grpSpPr>
        <p:sp>
          <p:nvSpPr>
            <p:cNvPr id="23" name="Rectangle">
              <a:extLst>
                <a:ext uri="{FF2B5EF4-FFF2-40B4-BE49-F238E27FC236}">
                  <a16:creationId xmlns:a16="http://schemas.microsoft.com/office/drawing/2014/main" id="{C5DC9F1B-66DB-4E4C-A2B2-73944FE16A4C}"/>
                </a:ext>
              </a:extLst>
            </p:cNvPr>
            <p:cNvSpPr/>
            <p:nvPr/>
          </p:nvSpPr>
          <p:spPr>
            <a:xfrm>
              <a:off x="0" y="0"/>
              <a:ext cx="2131429" cy="1644907"/>
            </a:xfrm>
            <a:prstGeom prst="rect">
              <a:avLst/>
            </a:prstGeom>
            <a:solidFill>
              <a:srgbClr val="475967"/>
            </a:solidFill>
            <a:ln w="12700" cap="flat">
              <a:noFill/>
              <a:miter lim="400000"/>
            </a:ln>
            <a:effectLst/>
          </p:spPr>
          <p:txBody>
            <a:bodyPr lIns="29321" tIns="29321" rIns="29321" bIns="29321" anchor="ctr"/>
            <a:lstStyle/>
            <a:p>
              <a:pPr defTabSz="622400">
                <a:buClrTx/>
                <a:defRPr sz="22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1160" kern="1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Integration onto GIS platform">
              <a:extLst>
                <a:ext uri="{FF2B5EF4-FFF2-40B4-BE49-F238E27FC236}">
                  <a16:creationId xmlns:a16="http://schemas.microsoft.com/office/drawing/2014/main" id="{EF67644B-1A28-164F-859C-6BA59289B4A8}"/>
                </a:ext>
              </a:extLst>
            </p:cNvPr>
            <p:cNvSpPr txBox="1"/>
            <p:nvPr/>
          </p:nvSpPr>
          <p:spPr>
            <a:xfrm>
              <a:off x="0" y="427922"/>
              <a:ext cx="2131429" cy="78906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/>
            </a:extLst>
          </p:spPr>
          <p:txBody>
            <a:bodyPr lIns="29321" tIns="29321" rIns="29321" bIns="29321" anchor="ctr">
              <a:spAutoFit/>
            </a:bodyPr>
            <a:lstStyle>
              <a:lvl1pPr defTabSz="1180267">
                <a:defRPr sz="22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algn="ctr" defTabSz="885200">
                <a:buClrTx/>
                <a:defRPr/>
              </a:pPr>
              <a:r>
                <a:rPr lang="en-GB" sz="1160" kern="1200" dirty="0"/>
                <a:t>Single app for all stakeholders</a:t>
              </a:r>
              <a:endParaRPr sz="1160" kern="1200" dirty="0"/>
            </a:p>
          </p:txBody>
        </p:sp>
      </p:grpSp>
      <p:grpSp>
        <p:nvGrpSpPr>
          <p:cNvPr id="25" name="Group">
            <a:extLst>
              <a:ext uri="{FF2B5EF4-FFF2-40B4-BE49-F238E27FC236}">
                <a16:creationId xmlns:a16="http://schemas.microsoft.com/office/drawing/2014/main" id="{DBF3728C-FEE8-CA40-941E-7A0EF7AA8350}"/>
              </a:ext>
            </a:extLst>
          </p:cNvPr>
          <p:cNvGrpSpPr>
            <a:grpSpLocks/>
          </p:cNvGrpSpPr>
          <p:nvPr/>
        </p:nvGrpSpPr>
        <p:grpSpPr bwMode="auto">
          <a:xfrm>
            <a:off x="2395410" y="4065600"/>
            <a:ext cx="1629496" cy="745592"/>
            <a:chOff x="0" y="0"/>
            <a:chExt cx="3089027" cy="1413230"/>
          </a:xfrm>
        </p:grpSpPr>
        <p:sp>
          <p:nvSpPr>
            <p:cNvPr id="26" name="Rectangle">
              <a:extLst>
                <a:ext uri="{FF2B5EF4-FFF2-40B4-BE49-F238E27FC236}">
                  <a16:creationId xmlns:a16="http://schemas.microsoft.com/office/drawing/2014/main" id="{A03267AA-A519-6248-877D-4AC60172029D}"/>
                </a:ext>
              </a:extLst>
            </p:cNvPr>
            <p:cNvSpPr/>
            <p:nvPr/>
          </p:nvSpPr>
          <p:spPr>
            <a:xfrm>
              <a:off x="0" y="0"/>
              <a:ext cx="3089027" cy="1413230"/>
            </a:xfrm>
            <a:prstGeom prst="rect">
              <a:avLst/>
            </a:prstGeom>
            <a:solidFill>
              <a:srgbClr val="EF6565"/>
            </a:solidFill>
            <a:ln w="12700" cap="flat">
              <a:noFill/>
              <a:miter lim="400000"/>
            </a:ln>
            <a:effectLst/>
          </p:spPr>
          <p:txBody>
            <a:bodyPr lIns="29321" tIns="29321" rIns="29321" bIns="29321" anchor="ctr"/>
            <a:lstStyle/>
            <a:p>
              <a:pPr algn="ctr" defTabSz="622400">
                <a:buClrTx/>
                <a:defRPr sz="22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1160" kern="1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Monitoring of toilet construction process">
              <a:extLst>
                <a:ext uri="{FF2B5EF4-FFF2-40B4-BE49-F238E27FC236}">
                  <a16:creationId xmlns:a16="http://schemas.microsoft.com/office/drawing/2014/main" id="{DD282572-6583-BC4A-9FD6-A938CB7D882F}"/>
                </a:ext>
              </a:extLst>
            </p:cNvPr>
            <p:cNvSpPr txBox="1"/>
            <p:nvPr/>
          </p:nvSpPr>
          <p:spPr>
            <a:xfrm>
              <a:off x="0" y="142962"/>
              <a:ext cx="3089027" cy="112730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/>
            </a:extLst>
          </p:spPr>
          <p:txBody>
            <a:bodyPr lIns="29321" tIns="29321" rIns="29321" bIns="29321" anchor="ctr">
              <a:spAutoFit/>
            </a:bodyPr>
            <a:lstStyle>
              <a:lvl1pPr defTabSz="1180267">
                <a:defRPr sz="22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algn="ctr" defTabSz="885200">
                <a:buClrTx/>
                <a:defRPr/>
              </a:pPr>
              <a:r>
                <a:rPr sz="1160" kern="1200" dirty="0"/>
                <a:t>Monitoring </a:t>
              </a:r>
              <a:r>
                <a:rPr lang="en-GB" sz="1160" kern="1200" dirty="0"/>
                <a:t>nutrition and W.A.S.H metrics + intervention points</a:t>
              </a:r>
            </a:p>
          </p:txBody>
        </p:sp>
      </p:grpSp>
      <p:grpSp>
        <p:nvGrpSpPr>
          <p:cNvPr id="28" name="Group">
            <a:extLst>
              <a:ext uri="{FF2B5EF4-FFF2-40B4-BE49-F238E27FC236}">
                <a16:creationId xmlns:a16="http://schemas.microsoft.com/office/drawing/2014/main" id="{DE4F1942-A090-7442-A117-387CD062CF4B}"/>
              </a:ext>
            </a:extLst>
          </p:cNvPr>
          <p:cNvGrpSpPr>
            <a:grpSpLocks/>
          </p:cNvGrpSpPr>
          <p:nvPr/>
        </p:nvGrpSpPr>
        <p:grpSpPr bwMode="auto">
          <a:xfrm>
            <a:off x="3653898" y="1426855"/>
            <a:ext cx="1514955" cy="867696"/>
            <a:chOff x="0" y="0"/>
            <a:chExt cx="2872795" cy="1644907"/>
          </a:xfrm>
        </p:grpSpPr>
        <p:sp>
          <p:nvSpPr>
            <p:cNvPr id="29" name="Rectangle">
              <a:extLst>
                <a:ext uri="{FF2B5EF4-FFF2-40B4-BE49-F238E27FC236}">
                  <a16:creationId xmlns:a16="http://schemas.microsoft.com/office/drawing/2014/main" id="{5D5AA2FD-9023-CC4E-8B15-79147B984746}"/>
                </a:ext>
              </a:extLst>
            </p:cNvPr>
            <p:cNvSpPr/>
            <p:nvPr/>
          </p:nvSpPr>
          <p:spPr>
            <a:xfrm>
              <a:off x="0" y="0"/>
              <a:ext cx="2872795" cy="1644907"/>
            </a:xfrm>
            <a:prstGeom prst="rect">
              <a:avLst/>
            </a:prstGeom>
            <a:solidFill>
              <a:srgbClr val="4AB8A1"/>
            </a:solidFill>
            <a:ln w="12700" cap="flat">
              <a:noFill/>
              <a:miter lim="400000"/>
            </a:ln>
            <a:effectLst/>
          </p:spPr>
          <p:txBody>
            <a:bodyPr lIns="29321" tIns="29321" rIns="29321" bIns="29321" anchor="ctr"/>
            <a:lstStyle/>
            <a:p>
              <a:pPr defTabSz="622400">
                <a:buClrTx/>
                <a:defRPr sz="22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1160" kern="1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Monitoring of community engagement activities">
              <a:extLst>
                <a:ext uri="{FF2B5EF4-FFF2-40B4-BE49-F238E27FC236}">
                  <a16:creationId xmlns:a16="http://schemas.microsoft.com/office/drawing/2014/main" id="{70B78105-20C1-B541-9986-1FF025723B69}"/>
                </a:ext>
              </a:extLst>
            </p:cNvPr>
            <p:cNvSpPr txBox="1"/>
            <p:nvPr/>
          </p:nvSpPr>
          <p:spPr>
            <a:xfrm>
              <a:off x="0" y="258720"/>
              <a:ext cx="2872795" cy="112747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/>
            </a:extLst>
          </p:spPr>
          <p:txBody>
            <a:bodyPr lIns="29321" tIns="29321" rIns="29321" bIns="29321" anchor="ctr">
              <a:spAutoFit/>
            </a:bodyPr>
            <a:lstStyle>
              <a:lvl1pPr defTabSz="1180267">
                <a:defRPr sz="22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algn="ctr" defTabSz="885200">
                <a:buClrTx/>
                <a:defRPr/>
              </a:pPr>
              <a:r>
                <a:rPr sz="1160" kern="1200" dirty="0"/>
                <a:t>Monitoring of community activities</a:t>
              </a:r>
              <a:r>
                <a:rPr lang="en-GB" sz="1160" kern="1200" dirty="0"/>
                <a:t> + impact assessment</a:t>
              </a:r>
              <a:endParaRPr sz="1160" kern="1200" dirty="0"/>
            </a:p>
          </p:txBody>
        </p:sp>
      </p:grpSp>
      <p:grpSp>
        <p:nvGrpSpPr>
          <p:cNvPr id="31" name="Group">
            <a:extLst>
              <a:ext uri="{FF2B5EF4-FFF2-40B4-BE49-F238E27FC236}">
                <a16:creationId xmlns:a16="http://schemas.microsoft.com/office/drawing/2014/main" id="{380DF494-5B48-7B41-BFFA-D27A19C3D9E3}"/>
              </a:ext>
            </a:extLst>
          </p:cNvPr>
          <p:cNvGrpSpPr>
            <a:grpSpLocks/>
          </p:cNvGrpSpPr>
          <p:nvPr/>
        </p:nvGrpSpPr>
        <p:grpSpPr bwMode="auto">
          <a:xfrm>
            <a:off x="5315102" y="1426855"/>
            <a:ext cx="1215914" cy="867696"/>
            <a:chOff x="0" y="0"/>
            <a:chExt cx="2306154" cy="1644907"/>
          </a:xfrm>
        </p:grpSpPr>
        <p:sp>
          <p:nvSpPr>
            <p:cNvPr id="32" name="Rectangle">
              <a:extLst>
                <a:ext uri="{FF2B5EF4-FFF2-40B4-BE49-F238E27FC236}">
                  <a16:creationId xmlns:a16="http://schemas.microsoft.com/office/drawing/2014/main" id="{0E55534F-D0AA-BA4D-A61C-70F2A77B8FD2}"/>
                </a:ext>
              </a:extLst>
            </p:cNvPr>
            <p:cNvSpPr/>
            <p:nvPr/>
          </p:nvSpPr>
          <p:spPr>
            <a:xfrm>
              <a:off x="0" y="0"/>
              <a:ext cx="2306154" cy="1644907"/>
            </a:xfrm>
            <a:prstGeom prst="rect">
              <a:avLst/>
            </a:prstGeom>
            <a:solidFill>
              <a:srgbClr val="EF6565"/>
            </a:solidFill>
            <a:ln w="12700" cap="flat">
              <a:noFill/>
              <a:miter lim="400000"/>
            </a:ln>
            <a:effectLst/>
          </p:spPr>
          <p:txBody>
            <a:bodyPr lIns="29321" tIns="29321" rIns="29321" bIns="29321" anchor="ctr"/>
            <a:lstStyle/>
            <a:p>
              <a:pPr defTabSz="622400">
                <a:buClrTx/>
                <a:defRPr sz="22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1160" kern="1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Creation of reports and analytical dashboard">
              <a:extLst>
                <a:ext uri="{FF2B5EF4-FFF2-40B4-BE49-F238E27FC236}">
                  <a16:creationId xmlns:a16="http://schemas.microsoft.com/office/drawing/2014/main" id="{D44C02BC-BAA6-EF44-9B35-328ED6A4C438}"/>
                </a:ext>
              </a:extLst>
            </p:cNvPr>
            <p:cNvSpPr txBox="1"/>
            <p:nvPr/>
          </p:nvSpPr>
          <p:spPr>
            <a:xfrm>
              <a:off x="0" y="258718"/>
              <a:ext cx="2306154" cy="112747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/>
            </a:extLst>
          </p:spPr>
          <p:txBody>
            <a:bodyPr wrap="square" lIns="29321" tIns="29321" rIns="29321" bIns="29321" anchor="ctr">
              <a:spAutoFit/>
            </a:bodyPr>
            <a:lstStyle>
              <a:lvl1pPr defTabSz="1180267">
                <a:defRPr sz="22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algn="ctr" defTabSz="885200">
                <a:buClrTx/>
                <a:defRPr/>
              </a:pPr>
              <a:r>
                <a:rPr lang="en-GB" sz="1160" kern="1200" dirty="0"/>
                <a:t>Policy Dashboard:</a:t>
              </a:r>
            </a:p>
            <a:p>
              <a:pPr algn="ctr" defTabSz="885200">
                <a:buClrTx/>
                <a:defRPr/>
              </a:pPr>
              <a:r>
                <a:rPr lang="en-GB" sz="1160" kern="1200" dirty="0"/>
                <a:t>Targeted policy intervention</a:t>
              </a:r>
              <a:endParaRPr sz="1160" kern="1200" dirty="0"/>
            </a:p>
          </p:txBody>
        </p:sp>
      </p:grpSp>
      <p:sp>
        <p:nvSpPr>
          <p:cNvPr id="34" name="Shape">
            <a:extLst>
              <a:ext uri="{FF2B5EF4-FFF2-40B4-BE49-F238E27FC236}">
                <a16:creationId xmlns:a16="http://schemas.microsoft.com/office/drawing/2014/main" id="{84230FA4-0B83-2B49-8F43-3AC90C05D7AB}"/>
              </a:ext>
            </a:extLst>
          </p:cNvPr>
          <p:cNvSpPr/>
          <p:nvPr/>
        </p:nvSpPr>
        <p:spPr>
          <a:xfrm>
            <a:off x="2133913" y="1853679"/>
            <a:ext cx="219356" cy="1966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7344"/>
                </a:moveTo>
                <a:lnTo>
                  <a:pt x="7686" y="7344"/>
                </a:lnTo>
                <a:lnTo>
                  <a:pt x="7686" y="0"/>
                </a:lnTo>
                <a:lnTo>
                  <a:pt x="13914" y="0"/>
                </a:lnTo>
                <a:lnTo>
                  <a:pt x="13914" y="7344"/>
                </a:lnTo>
                <a:lnTo>
                  <a:pt x="21600" y="7344"/>
                </a:lnTo>
                <a:lnTo>
                  <a:pt x="21600" y="14256"/>
                </a:lnTo>
                <a:lnTo>
                  <a:pt x="13914" y="14256"/>
                </a:lnTo>
                <a:lnTo>
                  <a:pt x="13914" y="21600"/>
                </a:lnTo>
                <a:lnTo>
                  <a:pt x="7686" y="21600"/>
                </a:lnTo>
                <a:lnTo>
                  <a:pt x="7686" y="14256"/>
                </a:lnTo>
                <a:lnTo>
                  <a:pt x="0" y="14256"/>
                </a:lnTo>
                <a:lnTo>
                  <a:pt x="0" y="7344"/>
                </a:lnTo>
                <a:close/>
              </a:path>
            </a:pathLst>
          </a:custGeom>
          <a:solidFill>
            <a:srgbClr val="475967"/>
          </a:solidFill>
          <a:ln w="25400">
            <a:solidFill>
              <a:srgbClr val="385D8A"/>
            </a:solidFill>
          </a:ln>
        </p:spPr>
        <p:txBody>
          <a:bodyPr lIns="29321" tIns="29321" rIns="29321" bIns="29321" anchor="ctr"/>
          <a:lstStyle/>
          <a:p>
            <a:pPr defTabSz="615917">
              <a:buClrTx/>
              <a:defRPr sz="2200" b="0">
                <a:latin typeface="Arial"/>
                <a:ea typeface="Arial"/>
                <a:cs typeface="Arial"/>
                <a:sym typeface="Arial"/>
              </a:defRPr>
            </a:pPr>
            <a:endParaRPr sz="1160" kern="1200">
              <a:solidFill>
                <a:prstClr val="black"/>
              </a:solidFill>
            </a:endParaRPr>
          </a:p>
        </p:txBody>
      </p:sp>
      <p:pic>
        <p:nvPicPr>
          <p:cNvPr id="35" name="image.jpeg" descr="image.jpeg">
            <a:extLst>
              <a:ext uri="{FF2B5EF4-FFF2-40B4-BE49-F238E27FC236}">
                <a16:creationId xmlns:a16="http://schemas.microsoft.com/office/drawing/2014/main" id="{4F9EA6FA-2CC9-1643-AC98-CF7ED3F1145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06" t="40640" r="41212" b="53552"/>
          <a:stretch>
            <a:fillRect/>
          </a:stretch>
        </p:blipFill>
        <p:spPr bwMode="auto">
          <a:xfrm>
            <a:off x="2411619" y="3511270"/>
            <a:ext cx="341459" cy="391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36" name="Rectangle">
            <a:extLst>
              <a:ext uri="{FF2B5EF4-FFF2-40B4-BE49-F238E27FC236}">
                <a16:creationId xmlns:a16="http://schemas.microsoft.com/office/drawing/2014/main" id="{08F5DBAE-4D65-604D-A948-9CCD87B06979}"/>
              </a:ext>
            </a:extLst>
          </p:cNvPr>
          <p:cNvSpPr/>
          <p:nvPr/>
        </p:nvSpPr>
        <p:spPr>
          <a:xfrm>
            <a:off x="4733757" y="2697601"/>
            <a:ext cx="611601" cy="488417"/>
          </a:xfrm>
          <a:prstGeom prst="rect">
            <a:avLst/>
          </a:prstGeom>
          <a:solidFill>
            <a:srgbClr val="F7F7F7"/>
          </a:solidFill>
          <a:ln w="12700">
            <a:miter lim="400000"/>
          </a:ln>
        </p:spPr>
        <p:txBody>
          <a:bodyPr lIns="29321" tIns="29321" rIns="29321" bIns="29321" anchor="ctr"/>
          <a:lstStyle/>
          <a:p>
            <a:pPr defTabSz="622400">
              <a:buClrTx/>
              <a:defRPr sz="2200" b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1160" kern="12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7" name="Group">
            <a:extLst>
              <a:ext uri="{FF2B5EF4-FFF2-40B4-BE49-F238E27FC236}">
                <a16:creationId xmlns:a16="http://schemas.microsoft.com/office/drawing/2014/main" id="{87517E8F-0F7D-5C44-B74B-B60557EAA466}"/>
              </a:ext>
            </a:extLst>
          </p:cNvPr>
          <p:cNvGrpSpPr>
            <a:grpSpLocks/>
          </p:cNvGrpSpPr>
          <p:nvPr/>
        </p:nvGrpSpPr>
        <p:grpSpPr bwMode="auto">
          <a:xfrm>
            <a:off x="4342591" y="4065601"/>
            <a:ext cx="1249136" cy="745592"/>
            <a:chOff x="0" y="1"/>
            <a:chExt cx="2368898" cy="1413203"/>
          </a:xfrm>
        </p:grpSpPr>
        <p:sp>
          <p:nvSpPr>
            <p:cNvPr id="38" name="Rectangle">
              <a:extLst>
                <a:ext uri="{FF2B5EF4-FFF2-40B4-BE49-F238E27FC236}">
                  <a16:creationId xmlns:a16="http://schemas.microsoft.com/office/drawing/2014/main" id="{D4ECC45C-EDDD-CB47-9CA6-0873310B1435}"/>
                </a:ext>
              </a:extLst>
            </p:cNvPr>
            <p:cNvSpPr/>
            <p:nvPr/>
          </p:nvSpPr>
          <p:spPr>
            <a:xfrm>
              <a:off x="0" y="1"/>
              <a:ext cx="2368898" cy="1413203"/>
            </a:xfrm>
            <a:prstGeom prst="rect">
              <a:avLst/>
            </a:prstGeom>
            <a:solidFill>
              <a:srgbClr val="475967"/>
            </a:solidFill>
            <a:ln w="12700" cap="flat">
              <a:noFill/>
              <a:miter lim="400000"/>
            </a:ln>
            <a:effectLst/>
          </p:spPr>
          <p:txBody>
            <a:bodyPr lIns="29321" tIns="29321" rIns="29321" bIns="29321" anchor="ctr"/>
            <a:lstStyle/>
            <a:p>
              <a:pPr algn="ctr" defTabSz="622400">
                <a:buClrTx/>
                <a:defRPr sz="22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1160" kern="1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Monitoring of Finance and Accounting systems">
              <a:extLst>
                <a:ext uri="{FF2B5EF4-FFF2-40B4-BE49-F238E27FC236}">
                  <a16:creationId xmlns:a16="http://schemas.microsoft.com/office/drawing/2014/main" id="{4BB28931-0817-8545-ADFF-317A5DE890DC}"/>
                </a:ext>
              </a:extLst>
            </p:cNvPr>
            <p:cNvSpPr txBox="1"/>
            <p:nvPr/>
          </p:nvSpPr>
          <p:spPr>
            <a:xfrm>
              <a:off x="0" y="137221"/>
              <a:ext cx="2368898" cy="11272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/>
            </a:extLst>
          </p:spPr>
          <p:txBody>
            <a:bodyPr lIns="29321" tIns="29321" rIns="29321" bIns="29321" anchor="ctr">
              <a:spAutoFit/>
            </a:bodyPr>
            <a:lstStyle>
              <a:lvl1pPr defTabSz="1180267">
                <a:defRPr sz="22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algn="ctr" defTabSz="885200">
                <a:buClrTx/>
                <a:defRPr/>
              </a:pPr>
              <a:r>
                <a:rPr lang="en-GB" sz="1160" kern="1200" dirty="0"/>
                <a:t>Donor Dashboard:</a:t>
              </a:r>
            </a:p>
            <a:p>
              <a:pPr algn="ctr" defTabSz="885200">
                <a:buClrTx/>
                <a:defRPr/>
              </a:pPr>
              <a:r>
                <a:rPr lang="en-GB" sz="1160" kern="1200" dirty="0"/>
                <a:t>Real-time data for targeted funding </a:t>
              </a:r>
              <a:endParaRPr sz="1160" kern="1200" dirty="0"/>
            </a:p>
          </p:txBody>
        </p:sp>
      </p:grpSp>
      <p:grpSp>
        <p:nvGrpSpPr>
          <p:cNvPr id="40" name="Group">
            <a:extLst>
              <a:ext uri="{FF2B5EF4-FFF2-40B4-BE49-F238E27FC236}">
                <a16:creationId xmlns:a16="http://schemas.microsoft.com/office/drawing/2014/main" id="{6B95A62A-7AD4-AD4E-9C1C-83E128F065D3}"/>
              </a:ext>
            </a:extLst>
          </p:cNvPr>
          <p:cNvGrpSpPr>
            <a:grpSpLocks/>
          </p:cNvGrpSpPr>
          <p:nvPr/>
        </p:nvGrpSpPr>
        <p:grpSpPr bwMode="auto">
          <a:xfrm>
            <a:off x="6300580" y="4065601"/>
            <a:ext cx="1249136" cy="745592"/>
            <a:chOff x="0" y="1"/>
            <a:chExt cx="2368898" cy="1413203"/>
          </a:xfrm>
        </p:grpSpPr>
        <p:sp>
          <p:nvSpPr>
            <p:cNvPr id="41" name="Rectangle">
              <a:extLst>
                <a:ext uri="{FF2B5EF4-FFF2-40B4-BE49-F238E27FC236}">
                  <a16:creationId xmlns:a16="http://schemas.microsoft.com/office/drawing/2014/main" id="{8879D4E6-88DA-A143-BF35-A1119EAB31AB}"/>
                </a:ext>
              </a:extLst>
            </p:cNvPr>
            <p:cNvSpPr/>
            <p:nvPr/>
          </p:nvSpPr>
          <p:spPr>
            <a:xfrm>
              <a:off x="0" y="1"/>
              <a:ext cx="2368898" cy="1413203"/>
            </a:xfrm>
            <a:prstGeom prst="rect">
              <a:avLst/>
            </a:prstGeom>
            <a:solidFill>
              <a:srgbClr val="4AB8A1"/>
            </a:solidFill>
            <a:ln w="12700" cap="flat">
              <a:noFill/>
              <a:miter lim="400000"/>
            </a:ln>
            <a:effectLst/>
          </p:spPr>
          <p:txBody>
            <a:bodyPr lIns="29321" tIns="29321" rIns="29321" bIns="29321" anchor="ctr"/>
            <a:lstStyle/>
            <a:p>
              <a:pPr algn="ctr" defTabSz="622400">
                <a:buClrTx/>
                <a:defRPr sz="22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sz="1160" kern="12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Publishing spatial data in public domain and linking to ULBs websites">
              <a:extLst>
                <a:ext uri="{FF2B5EF4-FFF2-40B4-BE49-F238E27FC236}">
                  <a16:creationId xmlns:a16="http://schemas.microsoft.com/office/drawing/2014/main" id="{F953D7F5-348A-8940-86EB-120C03C559D2}"/>
                </a:ext>
              </a:extLst>
            </p:cNvPr>
            <p:cNvSpPr txBox="1"/>
            <p:nvPr/>
          </p:nvSpPr>
          <p:spPr>
            <a:xfrm>
              <a:off x="0" y="290721"/>
              <a:ext cx="2368898" cy="78893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/>
            </a:extLst>
          </p:spPr>
          <p:txBody>
            <a:bodyPr lIns="29321" tIns="29321" rIns="29321" bIns="29321" anchor="ctr">
              <a:spAutoFit/>
            </a:bodyPr>
            <a:lstStyle>
              <a:lvl1pPr defTabSz="1180267">
                <a:defRPr sz="22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pPr algn="ctr" defTabSz="885200">
                <a:buClrTx/>
                <a:defRPr/>
              </a:pPr>
              <a:r>
                <a:rPr lang="en-GB" sz="1160" kern="1200" dirty="0"/>
                <a:t>Agile, Replicable and Scalable.</a:t>
              </a:r>
              <a:endParaRPr sz="1160" kern="1200" dirty="0"/>
            </a:p>
          </p:txBody>
        </p:sp>
      </p:grpSp>
      <p:pic>
        <p:nvPicPr>
          <p:cNvPr id="43" name="image.png" descr="image.png">
            <a:extLst>
              <a:ext uri="{FF2B5EF4-FFF2-40B4-BE49-F238E27FC236}">
                <a16:creationId xmlns:a16="http://schemas.microsoft.com/office/drawing/2014/main" id="{9D63A329-2B74-7F49-8B31-ACF5A6347C5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3131" y="2896427"/>
            <a:ext cx="251773" cy="252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45FACD4-0210-CB4B-A87E-A58D3B78193D}"/>
              </a:ext>
            </a:extLst>
          </p:cNvPr>
          <p:cNvSpPr/>
          <p:nvPr/>
        </p:nvSpPr>
        <p:spPr>
          <a:xfrm>
            <a:off x="2708583" y="721173"/>
            <a:ext cx="3793987" cy="41549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>
            <a:spAutoFit/>
          </a:bodyPr>
          <a:lstStyle/>
          <a:p>
            <a:pPr algn="ctr" defTabSz="685800">
              <a:buClrTx/>
            </a:pPr>
            <a:r>
              <a:rPr lang="en-US" sz="2100" b="1" kern="1200" dirty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End-to-End Data Driven Solution</a:t>
            </a:r>
          </a:p>
        </p:txBody>
      </p:sp>
      <p:sp>
        <p:nvSpPr>
          <p:cNvPr id="44" name="Title 6">
            <a:extLst>
              <a:ext uri="{FF2B5EF4-FFF2-40B4-BE49-F238E27FC236}">
                <a16:creationId xmlns:a16="http://schemas.microsoft.com/office/drawing/2014/main" id="{7D99D06D-14FF-2549-9306-3CF1170EBC5F}"/>
              </a:ext>
            </a:extLst>
          </p:cNvPr>
          <p:cNvSpPr txBox="1">
            <a:spLocks/>
          </p:cNvSpPr>
          <p:nvPr/>
        </p:nvSpPr>
        <p:spPr>
          <a:xfrm>
            <a:off x="220319" y="315433"/>
            <a:ext cx="8555868" cy="249299"/>
          </a:xfrm>
          <a:prstGeom prst="rect">
            <a:avLst/>
          </a:prstGeom>
        </p:spPr>
        <p:txBody>
          <a:bodyPr vert="horz" lIns="68580" tIns="34290" rIns="68580" bIns="3429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685800">
              <a:buClrTx/>
            </a:pPr>
            <a:r>
              <a:rPr lang="en-US" sz="2400" b="1" dirty="0">
                <a:solidFill>
                  <a:prstClr val="black"/>
                </a:solidFill>
                <a:latin typeface="Calibri Light"/>
              </a:rPr>
              <a:t>You can only manage what you can measure!</a:t>
            </a:r>
          </a:p>
        </p:txBody>
      </p:sp>
    </p:spTree>
    <p:extLst>
      <p:ext uri="{BB962C8B-B14F-4D97-AF65-F5344CB8AC3E}">
        <p14:creationId xmlns:p14="http://schemas.microsoft.com/office/powerpoint/2010/main" val="28115353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ACB6F09A-81F3-F246-972D-03116836E682}"/>
              </a:ext>
            </a:extLst>
          </p:cNvPr>
          <p:cNvSpPr/>
          <p:nvPr/>
        </p:nvSpPr>
        <p:spPr>
          <a:xfrm>
            <a:off x="443033" y="1331980"/>
            <a:ext cx="2754306" cy="2700300"/>
          </a:xfrm>
          <a:prstGeom prst="ellipse">
            <a:avLst/>
          </a:prstGeom>
          <a:solidFill>
            <a:srgbClr val="B43329">
              <a:alpha val="3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endParaRPr lang="en-US" sz="1350" kern="1200">
              <a:solidFill>
                <a:prstClr val="white"/>
              </a:solidFill>
              <a:latin typeface="Calibri"/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488641F-0F5D-46F4-B07D-BAF70A5A4A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488641F-0F5D-46F4-B07D-BAF70A5A4A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6">
            <a:extLst>
              <a:ext uri="{FF2B5EF4-FFF2-40B4-BE49-F238E27FC236}">
                <a16:creationId xmlns:a16="http://schemas.microsoft.com/office/drawing/2014/main" id="{81DA04DF-CF5D-3349-9160-1E1F43D61B27}"/>
              </a:ext>
            </a:extLst>
          </p:cNvPr>
          <p:cNvSpPr txBox="1">
            <a:spLocks/>
          </p:cNvSpPr>
          <p:nvPr/>
        </p:nvSpPr>
        <p:spPr>
          <a:xfrm>
            <a:off x="228600" y="322201"/>
            <a:ext cx="6198665" cy="249299"/>
          </a:xfrm>
          <a:prstGeom prst="rect">
            <a:avLst/>
          </a:prstGeom>
        </p:spPr>
        <p:txBody>
          <a:bodyPr vert="horz" lIns="68580" tIns="34290" rIns="68580" bIns="3429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685800">
              <a:buClrTx/>
            </a:pPr>
            <a:r>
              <a:rPr lang="en-US" sz="27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Model</a:t>
            </a:r>
          </a:p>
        </p:txBody>
      </p:sp>
      <p:cxnSp>
        <p:nvCxnSpPr>
          <p:cNvPr id="7" name="Google Shape;68;p15">
            <a:extLst>
              <a:ext uri="{FF2B5EF4-FFF2-40B4-BE49-F238E27FC236}">
                <a16:creationId xmlns:a16="http://schemas.microsoft.com/office/drawing/2014/main" id="{4A0404AA-4B72-F744-BE48-F8B1834F2404}"/>
              </a:ext>
            </a:extLst>
          </p:cNvPr>
          <p:cNvCxnSpPr>
            <a:cxnSpLocks/>
          </p:cNvCxnSpPr>
          <p:nvPr/>
        </p:nvCxnSpPr>
        <p:spPr>
          <a:xfrm>
            <a:off x="228600" y="550801"/>
            <a:ext cx="8690883" cy="0"/>
          </a:xfrm>
          <a:prstGeom prst="straightConnector1">
            <a:avLst/>
          </a:prstGeom>
          <a:noFill/>
          <a:ln w="9525" cap="flat" cmpd="sng">
            <a:solidFill>
              <a:srgbClr val="43434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9" name="Oval 8">
            <a:extLst>
              <a:ext uri="{FF2B5EF4-FFF2-40B4-BE49-F238E27FC236}">
                <a16:creationId xmlns:a16="http://schemas.microsoft.com/office/drawing/2014/main" id="{87451A3D-1925-3640-800C-8840194284B9}"/>
              </a:ext>
            </a:extLst>
          </p:cNvPr>
          <p:cNvSpPr/>
          <p:nvPr/>
        </p:nvSpPr>
        <p:spPr>
          <a:xfrm>
            <a:off x="713063" y="1575013"/>
            <a:ext cx="2214246" cy="2214233"/>
          </a:xfrm>
          <a:prstGeom prst="ellipse">
            <a:avLst/>
          </a:prstGeom>
          <a:solidFill>
            <a:srgbClr val="B43329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endParaRPr lang="en-US" sz="1350" kern="12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3C3A363-AA6C-6B48-928E-F332BDEF8760}"/>
              </a:ext>
            </a:extLst>
          </p:cNvPr>
          <p:cNvSpPr/>
          <p:nvPr/>
        </p:nvSpPr>
        <p:spPr>
          <a:xfrm>
            <a:off x="961076" y="1813317"/>
            <a:ext cx="1728192" cy="1737624"/>
          </a:xfrm>
          <a:prstGeom prst="ellipse">
            <a:avLst/>
          </a:prstGeom>
          <a:solidFill>
            <a:srgbClr val="B43329">
              <a:alpha val="5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endParaRPr lang="en-US" sz="1350" kern="12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8A56A853-9332-8E4C-846B-5754D58838E3}"/>
              </a:ext>
            </a:extLst>
          </p:cNvPr>
          <p:cNvSpPr/>
          <p:nvPr/>
        </p:nvSpPr>
        <p:spPr>
          <a:xfrm>
            <a:off x="1223628" y="2085696"/>
            <a:ext cx="1215135" cy="1215135"/>
          </a:xfrm>
          <a:prstGeom prst="ellipse">
            <a:avLst/>
          </a:prstGeom>
          <a:solidFill>
            <a:srgbClr val="B433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endParaRPr lang="en-US" sz="1350" kern="120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FC71CF5-8713-1C40-91A8-8F5816C124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42352" y="2475133"/>
            <a:ext cx="555668" cy="55566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D64699F-CCA4-E749-81D5-8D1180C4A2FD}"/>
              </a:ext>
            </a:extLst>
          </p:cNvPr>
          <p:cNvSpPr txBox="1"/>
          <p:nvPr/>
        </p:nvSpPr>
        <p:spPr>
          <a:xfrm>
            <a:off x="1542353" y="2124391"/>
            <a:ext cx="72908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buClrTx/>
            </a:pPr>
            <a:r>
              <a:rPr lang="en-US" sz="1350" kern="1200" dirty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Famil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D077424-B400-B343-88FC-8CC6AF49AF3F}"/>
              </a:ext>
            </a:extLst>
          </p:cNvPr>
          <p:cNvSpPr txBox="1"/>
          <p:nvPr/>
        </p:nvSpPr>
        <p:spPr>
          <a:xfrm>
            <a:off x="1368939" y="1835700"/>
            <a:ext cx="106982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buClrTx/>
            </a:pPr>
            <a:r>
              <a:rPr lang="en-US" sz="1350" kern="1200" dirty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Communit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EE78710-561A-1041-BD4B-CEA829703316}"/>
              </a:ext>
            </a:extLst>
          </p:cNvPr>
          <p:cNvSpPr txBox="1"/>
          <p:nvPr/>
        </p:nvSpPr>
        <p:spPr>
          <a:xfrm>
            <a:off x="1563108" y="1571691"/>
            <a:ext cx="106982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buClrTx/>
            </a:pPr>
            <a:r>
              <a:rPr lang="en-US" sz="1350" kern="1200" dirty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Dono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0C3C54C-8916-BC40-B8A7-639AEC0488F1}"/>
              </a:ext>
            </a:extLst>
          </p:cNvPr>
          <p:cNvSpPr txBox="1"/>
          <p:nvPr/>
        </p:nvSpPr>
        <p:spPr>
          <a:xfrm>
            <a:off x="1591276" y="1330074"/>
            <a:ext cx="106982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buClrTx/>
            </a:pPr>
            <a:r>
              <a:rPr lang="en-US" sz="1350" kern="1200" dirty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Policy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4E40585C-D4BE-4643-8A25-3B7A69F9867B}"/>
              </a:ext>
            </a:extLst>
          </p:cNvPr>
          <p:cNvCxnSpPr>
            <a:stCxn id="11" idx="3"/>
          </p:cNvCxnSpPr>
          <p:nvPr/>
        </p:nvCxnSpPr>
        <p:spPr>
          <a:xfrm>
            <a:off x="2098021" y="2752967"/>
            <a:ext cx="1099319" cy="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F7D9C894-6D3A-2343-ADC2-539003967F68}"/>
              </a:ext>
            </a:extLst>
          </p:cNvPr>
          <p:cNvSpPr/>
          <p:nvPr/>
        </p:nvSpPr>
        <p:spPr>
          <a:xfrm>
            <a:off x="467992" y="4347802"/>
            <a:ext cx="2704395" cy="41549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>
            <a:spAutoFit/>
          </a:bodyPr>
          <a:lstStyle/>
          <a:p>
            <a:pPr algn="ctr" defTabSz="685800">
              <a:buClrTx/>
            </a:pPr>
            <a:r>
              <a:rPr lang="en-US" sz="2100" b="1" kern="1200" dirty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Sphere of Intervention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F62BA3F-BA81-5548-B60F-471AE235460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05203" y="1294480"/>
            <a:ext cx="1142255" cy="114225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4B08FED2-14A9-9444-BE1E-ED4F669FFCB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45886" y="3020190"/>
            <a:ext cx="1239785" cy="1239785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16DA3847-5001-9B48-8850-3E21FCAAA6FE}"/>
              </a:ext>
            </a:extLst>
          </p:cNvPr>
          <p:cNvSpPr/>
          <p:nvPr/>
        </p:nvSpPr>
        <p:spPr>
          <a:xfrm>
            <a:off x="4846937" y="972284"/>
            <a:ext cx="1625060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>
            <a:spAutoFit/>
          </a:bodyPr>
          <a:lstStyle/>
          <a:p>
            <a:pPr algn="ctr" defTabSz="685800">
              <a:buClrTx/>
            </a:pPr>
            <a:r>
              <a:rPr lang="en-US" sz="1800" b="1" kern="1200" dirty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Nutrition Team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4578E0B-4C56-9E43-8959-12C59B8AA4A2}"/>
              </a:ext>
            </a:extLst>
          </p:cNvPr>
          <p:cNvSpPr/>
          <p:nvPr/>
        </p:nvSpPr>
        <p:spPr>
          <a:xfrm>
            <a:off x="4756548" y="3005765"/>
            <a:ext cx="2055499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>
            <a:spAutoFit/>
          </a:bodyPr>
          <a:lstStyle/>
          <a:p>
            <a:pPr algn="ctr" defTabSz="685800">
              <a:buClrTx/>
            </a:pPr>
            <a:r>
              <a:rPr lang="en-US" sz="1800" b="1" kern="1200" dirty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Changemaker Team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8D013B1E-13BF-6649-B9F1-D2EAF1046FD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83817" y="1221600"/>
            <a:ext cx="1500652" cy="1500652"/>
          </a:xfrm>
          <a:prstGeom prst="rect">
            <a:avLst/>
          </a:prstGeom>
        </p:spPr>
      </p:pic>
      <p:sp>
        <p:nvSpPr>
          <p:cNvPr id="27" name="Right Brace 26">
            <a:extLst>
              <a:ext uri="{FF2B5EF4-FFF2-40B4-BE49-F238E27FC236}">
                <a16:creationId xmlns:a16="http://schemas.microsoft.com/office/drawing/2014/main" id="{504DCCE8-6EBB-6645-B2D3-A7DA316F2444}"/>
              </a:ext>
            </a:extLst>
          </p:cNvPr>
          <p:cNvSpPr/>
          <p:nvPr/>
        </p:nvSpPr>
        <p:spPr>
          <a:xfrm>
            <a:off x="6499477" y="875282"/>
            <a:ext cx="853832" cy="3861429"/>
          </a:xfrm>
          <a:prstGeom prst="rightBrace">
            <a:avLst/>
          </a:prstGeom>
          <a:ln>
            <a:solidFill>
              <a:srgbClr val="B433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800">
              <a:buClrTx/>
            </a:pPr>
            <a:endParaRPr lang="en-US" sz="1350" kern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D82680A-EA9D-B149-B3CD-7E5B516F7A26}"/>
              </a:ext>
            </a:extLst>
          </p:cNvPr>
          <p:cNvSpPr/>
          <p:nvPr/>
        </p:nvSpPr>
        <p:spPr>
          <a:xfrm>
            <a:off x="7365641" y="2954582"/>
            <a:ext cx="1197508" cy="36933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>
            <a:spAutoFit/>
          </a:bodyPr>
          <a:lstStyle/>
          <a:p>
            <a:pPr algn="ctr" defTabSz="685800">
              <a:buClrTx/>
            </a:pPr>
            <a:r>
              <a:rPr lang="en-US" sz="1800" b="1" kern="1200" dirty="0">
                <a:solidFill>
                  <a:prstClr val="white"/>
                </a:solidFill>
                <a:latin typeface="Calibri"/>
                <a:ea typeface="+mn-ea"/>
                <a:cs typeface="+mn-cs"/>
              </a:rPr>
              <a:t>Data Team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EC2B186-D299-B04E-AFA0-0452019455CE}"/>
              </a:ext>
            </a:extLst>
          </p:cNvPr>
          <p:cNvSpPr txBox="1"/>
          <p:nvPr/>
        </p:nvSpPr>
        <p:spPr>
          <a:xfrm>
            <a:off x="4734018" y="1437624"/>
            <a:ext cx="2090421" cy="1131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35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Data driven intervention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35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Tracking </a:t>
            </a:r>
            <a:r>
              <a:rPr lang="en-US" sz="1350" i="1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foodprint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35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Tracking nutrition uptak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BBE0A07-EF96-BF40-9B6E-A348EC61DA6C}"/>
              </a:ext>
            </a:extLst>
          </p:cNvPr>
          <p:cNvSpPr txBox="1"/>
          <p:nvPr/>
        </p:nvSpPr>
        <p:spPr>
          <a:xfrm>
            <a:off x="4788024" y="3461976"/>
            <a:ext cx="1968661" cy="1131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35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Targeted intervention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35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Activity tracking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35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Digital content sharing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35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Health &amp; behavior tracking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7F52A65-C279-3540-8A5E-62210369592D}"/>
              </a:ext>
            </a:extLst>
          </p:cNvPr>
          <p:cNvSpPr txBox="1"/>
          <p:nvPr/>
        </p:nvSpPr>
        <p:spPr>
          <a:xfrm>
            <a:off x="7272301" y="3352013"/>
            <a:ext cx="179051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35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GIS mapping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35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Data collection app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35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Reporting MIS</a:t>
            </a:r>
          </a:p>
          <a:p>
            <a:pPr marL="214313" indent="-214313" defTabSz="685800">
              <a:buClrTx/>
              <a:buFont typeface="Arial" panose="020B0604020202020204" pitchFamily="34" charset="0"/>
              <a:buChar char="•"/>
            </a:pPr>
            <a:r>
              <a:rPr lang="en-US" sz="135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Dashboards</a:t>
            </a:r>
          </a:p>
        </p:txBody>
      </p:sp>
    </p:spTree>
    <p:extLst>
      <p:ext uri="{BB962C8B-B14F-4D97-AF65-F5344CB8AC3E}">
        <p14:creationId xmlns:p14="http://schemas.microsoft.com/office/powerpoint/2010/main" val="2008994922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488641F-0F5D-46F4-B07D-BAF70A5A4A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488641F-0F5D-46F4-B07D-BAF70A5A4A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6">
            <a:extLst>
              <a:ext uri="{FF2B5EF4-FFF2-40B4-BE49-F238E27FC236}">
                <a16:creationId xmlns:a16="http://schemas.microsoft.com/office/drawing/2014/main" id="{81DA04DF-CF5D-3349-9160-1E1F43D61B27}"/>
              </a:ext>
            </a:extLst>
          </p:cNvPr>
          <p:cNvSpPr txBox="1">
            <a:spLocks/>
          </p:cNvSpPr>
          <p:nvPr/>
        </p:nvSpPr>
        <p:spPr>
          <a:xfrm>
            <a:off x="228600" y="322201"/>
            <a:ext cx="6198665" cy="249299"/>
          </a:xfrm>
          <a:prstGeom prst="rect">
            <a:avLst/>
          </a:prstGeom>
        </p:spPr>
        <p:txBody>
          <a:bodyPr vert="horz" lIns="68580" tIns="34290" rIns="68580" bIns="3429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685800">
              <a:buClrTx/>
            </a:pPr>
            <a:r>
              <a:rPr lang="en-US" sz="27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Key Features</a:t>
            </a:r>
          </a:p>
        </p:txBody>
      </p:sp>
      <p:cxnSp>
        <p:nvCxnSpPr>
          <p:cNvPr id="7" name="Google Shape;68;p15">
            <a:extLst>
              <a:ext uri="{FF2B5EF4-FFF2-40B4-BE49-F238E27FC236}">
                <a16:creationId xmlns:a16="http://schemas.microsoft.com/office/drawing/2014/main" id="{4A0404AA-4B72-F744-BE48-F8B1834F2404}"/>
              </a:ext>
            </a:extLst>
          </p:cNvPr>
          <p:cNvCxnSpPr>
            <a:cxnSpLocks/>
          </p:cNvCxnSpPr>
          <p:nvPr/>
        </p:nvCxnSpPr>
        <p:spPr>
          <a:xfrm>
            <a:off x="228600" y="550801"/>
            <a:ext cx="8690883" cy="0"/>
          </a:xfrm>
          <a:prstGeom prst="straightConnector1">
            <a:avLst/>
          </a:prstGeom>
          <a:noFill/>
          <a:ln w="9525" cap="flat" cmpd="sng">
            <a:solidFill>
              <a:srgbClr val="434343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C093BABC-AD44-C846-8CDF-3924DB2302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H="1">
            <a:off x="563731" y="1053240"/>
            <a:ext cx="1110895" cy="87222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F19C5EE-4A48-604E-BA3E-1795DE181413}"/>
              </a:ext>
            </a:extLst>
          </p:cNvPr>
          <p:cNvSpPr txBox="1"/>
          <p:nvPr/>
        </p:nvSpPr>
        <p:spPr>
          <a:xfrm>
            <a:off x="2065375" y="1139228"/>
            <a:ext cx="1719445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buClrTx/>
            </a:pPr>
            <a:r>
              <a:rPr lang="en-US" sz="210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Realtime Data</a:t>
            </a:r>
          </a:p>
          <a:p>
            <a:pPr defTabSz="685800">
              <a:buClrTx/>
            </a:pPr>
            <a:r>
              <a:rPr lang="en-US" sz="210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Acces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203207F-0FB7-614C-BB78-E8A99094C8C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19178" y="2479895"/>
            <a:ext cx="718807" cy="7188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3DE5229-B783-2448-AD25-43728841A54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5817" y="2514956"/>
            <a:ext cx="722662" cy="72266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190A264-FBF0-B847-A07B-051E4B79B9C5}"/>
              </a:ext>
            </a:extLst>
          </p:cNvPr>
          <p:cNvSpPr txBox="1"/>
          <p:nvPr/>
        </p:nvSpPr>
        <p:spPr>
          <a:xfrm>
            <a:off x="2065375" y="2479895"/>
            <a:ext cx="1945020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buClrTx/>
            </a:pPr>
            <a:r>
              <a:rPr lang="en-US" sz="210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Quantitative &amp;</a:t>
            </a:r>
          </a:p>
          <a:p>
            <a:pPr defTabSz="685800">
              <a:buClrTx/>
            </a:pPr>
            <a:r>
              <a:rPr lang="en-US" sz="210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Qualitative Data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EB82137-9026-C84A-BEB7-85F67625AAA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8128" y="3569144"/>
            <a:ext cx="1234685" cy="1234685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F5C40D7-32BB-D342-89A8-FA09AF3EC2A4}"/>
              </a:ext>
            </a:extLst>
          </p:cNvPr>
          <p:cNvSpPr txBox="1"/>
          <p:nvPr/>
        </p:nvSpPr>
        <p:spPr>
          <a:xfrm>
            <a:off x="2065375" y="3763203"/>
            <a:ext cx="1447832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buClrTx/>
            </a:pPr>
            <a:r>
              <a:rPr lang="en-US" sz="210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Offline </a:t>
            </a:r>
          </a:p>
          <a:p>
            <a:pPr defTabSz="685800">
              <a:buClrTx/>
            </a:pPr>
            <a:r>
              <a:rPr lang="en-US" sz="210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Capabiliti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F5C925C-56F0-E248-AA59-DD956952DF3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852324" y="1247300"/>
            <a:ext cx="1088250" cy="108825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7E63C0A-06B0-634D-87DD-935C4F6AA5D6}"/>
              </a:ext>
            </a:extLst>
          </p:cNvPr>
          <p:cNvSpPr txBox="1"/>
          <p:nvPr/>
        </p:nvSpPr>
        <p:spPr>
          <a:xfrm>
            <a:off x="6226927" y="1433635"/>
            <a:ext cx="191013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>
              <a:buClrTx/>
            </a:pPr>
            <a:r>
              <a:rPr lang="en-US" sz="210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AI Driven </a:t>
            </a:r>
          </a:p>
          <a:p>
            <a:pPr algn="ctr" defTabSz="685800">
              <a:buClrTx/>
            </a:pPr>
            <a:r>
              <a:rPr lang="en-US" sz="210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Personalization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4FB4E70-F045-AD4A-8B6A-CCEF49B9DB8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700726" y="2873422"/>
            <a:ext cx="1391445" cy="1391445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BEDC943-FCEF-154E-9110-BFD97BA29CEC}"/>
              </a:ext>
            </a:extLst>
          </p:cNvPr>
          <p:cNvSpPr txBox="1"/>
          <p:nvPr/>
        </p:nvSpPr>
        <p:spPr>
          <a:xfrm>
            <a:off x="6401150" y="3172367"/>
            <a:ext cx="1924887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>
              <a:buClrTx/>
            </a:pPr>
            <a:r>
              <a:rPr lang="en-US" sz="210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Replicable,</a:t>
            </a:r>
          </a:p>
          <a:p>
            <a:pPr algn="ctr" defTabSz="685800">
              <a:buClrTx/>
            </a:pPr>
            <a:r>
              <a:rPr lang="en-US" sz="210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Scalable &amp; Agile</a:t>
            </a:r>
          </a:p>
        </p:txBody>
      </p:sp>
    </p:spTree>
    <p:extLst>
      <p:ext uri="{BB962C8B-B14F-4D97-AF65-F5344CB8AC3E}">
        <p14:creationId xmlns:p14="http://schemas.microsoft.com/office/powerpoint/2010/main" val="232196040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488641F-0F5D-46F4-B07D-BAF70A5A4A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488641F-0F5D-46F4-B07D-BAF70A5A4A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6">
            <a:extLst>
              <a:ext uri="{FF2B5EF4-FFF2-40B4-BE49-F238E27FC236}">
                <a16:creationId xmlns:a16="http://schemas.microsoft.com/office/drawing/2014/main" id="{81DA04DF-CF5D-3349-9160-1E1F43D61B27}"/>
              </a:ext>
            </a:extLst>
          </p:cNvPr>
          <p:cNvSpPr txBox="1">
            <a:spLocks/>
          </p:cNvSpPr>
          <p:nvPr/>
        </p:nvSpPr>
        <p:spPr>
          <a:xfrm>
            <a:off x="228600" y="322201"/>
            <a:ext cx="6198665" cy="249299"/>
          </a:xfrm>
          <a:prstGeom prst="rect">
            <a:avLst/>
          </a:prstGeom>
        </p:spPr>
        <p:txBody>
          <a:bodyPr vert="horz" lIns="68580" tIns="34290" rIns="68580" bIns="3429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685800">
              <a:buClrTx/>
            </a:pPr>
            <a:r>
              <a:rPr lang="en-US" sz="27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Team Details</a:t>
            </a:r>
          </a:p>
        </p:txBody>
      </p:sp>
      <p:cxnSp>
        <p:nvCxnSpPr>
          <p:cNvPr id="7" name="Google Shape;68;p15">
            <a:extLst>
              <a:ext uri="{FF2B5EF4-FFF2-40B4-BE49-F238E27FC236}">
                <a16:creationId xmlns:a16="http://schemas.microsoft.com/office/drawing/2014/main" id="{4A0404AA-4B72-F744-BE48-F8B1834F2404}"/>
              </a:ext>
            </a:extLst>
          </p:cNvPr>
          <p:cNvCxnSpPr>
            <a:cxnSpLocks/>
          </p:cNvCxnSpPr>
          <p:nvPr/>
        </p:nvCxnSpPr>
        <p:spPr>
          <a:xfrm>
            <a:off x="228600" y="550801"/>
            <a:ext cx="8690883" cy="0"/>
          </a:xfrm>
          <a:prstGeom prst="straightConnector1">
            <a:avLst/>
          </a:prstGeom>
          <a:noFill/>
          <a:ln w="9525" cap="flat" cmpd="sng">
            <a:solidFill>
              <a:srgbClr val="43434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F9C0053F-243D-4846-92C9-10A2E85E9B87}"/>
              </a:ext>
            </a:extLst>
          </p:cNvPr>
          <p:cNvSpPr txBox="1"/>
          <p:nvPr/>
        </p:nvSpPr>
        <p:spPr>
          <a:xfrm>
            <a:off x="434618" y="2905391"/>
            <a:ext cx="8306441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buClrTx/>
            </a:pPr>
            <a:r>
              <a:rPr lang="en-US" sz="2400" b="1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Shelter Associates </a:t>
            </a:r>
            <a:r>
              <a:rPr lang="en-US" sz="240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- GIS Mapping and Spatial Analysis</a:t>
            </a:r>
          </a:p>
          <a:p>
            <a:pPr defTabSz="685800">
              <a:buClrTx/>
            </a:pPr>
            <a:r>
              <a:rPr lang="en-US" sz="2400" b="1" kern="1200" dirty="0" err="1">
                <a:solidFill>
                  <a:prstClr val="black"/>
                </a:solidFill>
                <a:latin typeface="Calibri"/>
                <a:ea typeface="+mn-ea"/>
                <a:cs typeface="+mn-cs"/>
              </a:rPr>
              <a:t>Matri</a:t>
            </a:r>
            <a:r>
              <a:rPr lang="en-US" sz="2400" b="1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Sudha </a:t>
            </a:r>
            <a:r>
              <a:rPr lang="en-US" sz="240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– Field Outreach &amp; Community Engagement Partner</a:t>
            </a:r>
          </a:p>
          <a:p>
            <a:pPr defTabSz="685800">
              <a:buClrTx/>
            </a:pPr>
            <a:r>
              <a:rPr lang="en-US" sz="2400" b="1" kern="1200" dirty="0" err="1">
                <a:solidFill>
                  <a:prstClr val="black"/>
                </a:solidFill>
                <a:latin typeface="Calibri"/>
                <a:ea typeface="+mn-ea"/>
                <a:cs typeface="+mn-cs"/>
              </a:rPr>
              <a:t>Parentune</a:t>
            </a:r>
            <a:r>
              <a:rPr lang="en-US" sz="240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– App for community and parents</a:t>
            </a:r>
          </a:p>
          <a:p>
            <a:pPr defTabSz="685800">
              <a:buClrTx/>
            </a:pPr>
            <a:r>
              <a:rPr lang="en-US" sz="2400" b="1" kern="1200" dirty="0" err="1">
                <a:solidFill>
                  <a:prstClr val="black"/>
                </a:solidFill>
                <a:latin typeface="Calibri"/>
                <a:ea typeface="+mn-ea"/>
                <a:cs typeface="+mn-cs"/>
              </a:rPr>
              <a:t>Dhwani</a:t>
            </a:r>
            <a:r>
              <a:rPr lang="en-US" sz="2400" b="1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 RIS </a:t>
            </a:r>
            <a:r>
              <a:rPr lang="en-US" sz="240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– Realtime Dashboards and Reports</a:t>
            </a:r>
          </a:p>
          <a:p>
            <a:pPr defTabSz="685800">
              <a:buClrTx/>
            </a:pPr>
            <a:r>
              <a:rPr lang="en-US" sz="2400" b="1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The Prodigal Cook </a:t>
            </a:r>
            <a:r>
              <a:rPr lang="en-US" sz="2400" kern="1200" dirty="0">
                <a:solidFill>
                  <a:prstClr val="black"/>
                </a:solidFill>
                <a:latin typeface="Calibri"/>
                <a:ea typeface="+mn-ea"/>
                <a:cs typeface="+mn-cs"/>
              </a:rPr>
              <a:t>– Planning, Strategy and Solution Desig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52A3C2E-889A-0843-9078-D7A68EAA08E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60721" y="897564"/>
            <a:ext cx="4366544" cy="1824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011111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F4B4AF8-E8AE-F845-81F6-530AC2DC3AA1}"/>
              </a:ext>
            </a:extLst>
          </p:cNvPr>
          <p:cNvSpPr/>
          <p:nvPr/>
        </p:nvSpPr>
        <p:spPr>
          <a:xfrm>
            <a:off x="1006128" y="675552"/>
            <a:ext cx="7131744" cy="360910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buClrTx/>
              <a:defRPr/>
            </a:pPr>
            <a:r>
              <a:rPr lang="en-US" sz="2134" kern="1200" dirty="0">
                <a:solidFill>
                  <a:prstClr val="white"/>
                </a:solidFill>
                <a:latin typeface="Trebuchet MS" panose="020B0603020202020204" pitchFamily="34" charset="0"/>
              </a:rPr>
              <a:t>Pre Intervention- HH having Individual toilets- 2.2%</a:t>
            </a:r>
          </a:p>
        </p:txBody>
      </p:sp>
      <p:pic>
        <p:nvPicPr>
          <p:cNvPr id="26627" name="Picture 2">
            <a:extLst>
              <a:ext uri="{FF2B5EF4-FFF2-40B4-BE49-F238E27FC236}">
                <a16:creationId xmlns:a16="http://schemas.microsoft.com/office/drawing/2014/main" id="{0334CAA1-A487-B744-9DE6-968B514F283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9701" y="1134603"/>
            <a:ext cx="5697831" cy="40294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6">
            <a:extLst>
              <a:ext uri="{FF2B5EF4-FFF2-40B4-BE49-F238E27FC236}">
                <a16:creationId xmlns:a16="http://schemas.microsoft.com/office/drawing/2014/main" id="{E0C8C5B2-53CF-CE4C-94CA-B30A78E1BD41}"/>
              </a:ext>
            </a:extLst>
          </p:cNvPr>
          <p:cNvSpPr txBox="1">
            <a:spLocks/>
          </p:cNvSpPr>
          <p:nvPr/>
        </p:nvSpPr>
        <p:spPr>
          <a:xfrm>
            <a:off x="228600" y="322201"/>
            <a:ext cx="6198665" cy="249299"/>
          </a:xfrm>
          <a:prstGeom prst="rect">
            <a:avLst/>
          </a:prstGeom>
        </p:spPr>
        <p:txBody>
          <a:bodyPr vert="horz" lIns="68580" tIns="34290" rIns="68580" bIns="3429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685800">
              <a:buClrTx/>
            </a:pPr>
            <a:r>
              <a:rPr lang="en-US" sz="27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Capabilities – GIS mapping</a:t>
            </a:r>
          </a:p>
        </p:txBody>
      </p:sp>
      <p:cxnSp>
        <p:nvCxnSpPr>
          <p:cNvPr id="9" name="Google Shape;68;p15">
            <a:extLst>
              <a:ext uri="{FF2B5EF4-FFF2-40B4-BE49-F238E27FC236}">
                <a16:creationId xmlns:a16="http://schemas.microsoft.com/office/drawing/2014/main" id="{04AFFB13-AF6E-974E-BD7F-0897A829C232}"/>
              </a:ext>
            </a:extLst>
          </p:cNvPr>
          <p:cNvCxnSpPr>
            <a:cxnSpLocks/>
          </p:cNvCxnSpPr>
          <p:nvPr/>
        </p:nvCxnSpPr>
        <p:spPr>
          <a:xfrm>
            <a:off x="228600" y="550801"/>
            <a:ext cx="8690883" cy="0"/>
          </a:xfrm>
          <a:prstGeom prst="straightConnector1">
            <a:avLst/>
          </a:prstGeom>
          <a:noFill/>
          <a:ln w="9525" cap="flat" cmpd="sng">
            <a:solidFill>
              <a:srgbClr val="434343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2127384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E7D3DBD3-785F-4805-A575-435B894B4DE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D09C13B-5DF0-4919-8FAA-AE131496A5FE}"/>
              </a:ext>
            </a:extLst>
          </p:cNvPr>
          <p:cNvSpPr>
            <a:spLocks noGrp="1"/>
          </p:cNvSpPr>
          <p:nvPr>
            <p:ph type="body" idx="2"/>
          </p:nvPr>
        </p:nvSpPr>
        <p:spPr>
          <a:xfrm>
            <a:off x="163476" y="640711"/>
            <a:ext cx="8758800" cy="4059600"/>
          </a:xfrm>
        </p:spPr>
        <p:txBody>
          <a:bodyPr/>
          <a:lstStyle/>
          <a:p>
            <a:pPr marL="0" indent="0">
              <a:buNone/>
            </a:pPr>
            <a:r>
              <a:rPr lang="en-GB" sz="3600" b="1" dirty="0"/>
              <a:t>Surbhi Pandit &amp; </a:t>
            </a:r>
          </a:p>
          <a:p>
            <a:pPr marL="0" indent="0">
              <a:buNone/>
            </a:pPr>
            <a:r>
              <a:rPr lang="en-GB" sz="3600" b="1" dirty="0" err="1"/>
              <a:t>Dr.</a:t>
            </a:r>
            <a:r>
              <a:rPr lang="en-GB" sz="3600" b="1" dirty="0"/>
              <a:t> Aditya Dev </a:t>
            </a:r>
            <a:r>
              <a:rPr lang="en-GB" sz="3600" b="1" dirty="0" err="1"/>
              <a:t>Sood</a:t>
            </a:r>
            <a:endParaRPr lang="en-GB" sz="3600" b="1" dirty="0"/>
          </a:p>
          <a:p>
            <a:pPr marL="0" indent="0">
              <a:buNone/>
            </a:pPr>
            <a:r>
              <a:rPr lang="en-AU" sz="3200" b="1" dirty="0"/>
              <a:t>Vihara Innovation Network</a:t>
            </a:r>
            <a:endParaRPr lang="en-AU" sz="3200" dirty="0"/>
          </a:p>
          <a:p>
            <a:pPr marL="0" indent="0">
              <a:buNone/>
            </a:pPr>
            <a:endParaRPr lang="en-AU" dirty="0"/>
          </a:p>
        </p:txBody>
      </p:sp>
      <p:pic>
        <p:nvPicPr>
          <p:cNvPr id="3078" name="Picture 6" descr="https://lh5.googleusercontent.com/IxVhepWWQSIdCwpZsILH9hWVGkav4NDEKAu5Eh2aygNOwh-FJuDUxEYk8Qaw-UYFyGyjjQ64N061B2RqKukGxFNBgf6UUeVJuxQY3wUqPfIDG7MrNS4Aac22txcl70Zxq0pOGlnR1Zg">
            <a:extLst>
              <a:ext uri="{FF2B5EF4-FFF2-40B4-BE49-F238E27FC236}">
                <a16:creationId xmlns:a16="http://schemas.microsoft.com/office/drawing/2014/main" id="{7B10DC75-FCCB-4AD5-94F6-98AC7A4D14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4833" y="3597520"/>
            <a:ext cx="1145099" cy="961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351428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HP\Desktop\Desktop folders\March 2017 event- Balaji nagar\Balaji nagar maps\editted\before intervention.png">
            <a:extLst>
              <a:ext uri="{FF2B5EF4-FFF2-40B4-BE49-F238E27FC236}">
                <a16:creationId xmlns:a16="http://schemas.microsoft.com/office/drawing/2014/main" id="{E8BF4780-97DE-094B-9E92-85F93DDF28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3332" y="1120421"/>
            <a:ext cx="4242307" cy="43384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1" name="Picture 2" descr="C:\Users\HP\Desktop\Desktop folders\March 2017 event- Balaji nagar\Balaji nagar maps\editted\1a.png">
            <a:extLst>
              <a:ext uri="{FF2B5EF4-FFF2-40B4-BE49-F238E27FC236}">
                <a16:creationId xmlns:a16="http://schemas.microsoft.com/office/drawing/2014/main" id="{1F1128F4-1544-084D-AD36-6704A29028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7654" y="1120421"/>
            <a:ext cx="4230421" cy="43384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 descr="C:\Users\HP\Desktop\Desktop folders\March 2017 event- Balaji nagar\Balaji nagar maps\editted\1a.png">
            <a:extLst>
              <a:ext uri="{FF2B5EF4-FFF2-40B4-BE49-F238E27FC236}">
                <a16:creationId xmlns:a16="http://schemas.microsoft.com/office/drawing/2014/main" id="{0EB9D3E4-E892-C34D-BFCA-BAD332FC20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3331" y="1143113"/>
            <a:ext cx="4232582" cy="429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C:\Users\HP\Desktop\Desktop folders\March 2017 event- Balaji nagar\Balaji nagar maps\editted\1a.png">
            <a:extLst>
              <a:ext uri="{FF2B5EF4-FFF2-40B4-BE49-F238E27FC236}">
                <a16:creationId xmlns:a16="http://schemas.microsoft.com/office/drawing/2014/main" id="{AF6B24ED-CE45-8246-A761-6ACD8806A5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5768" y="1144194"/>
            <a:ext cx="4259596" cy="4306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C:\Users\HP\Desktop\Desktop folders\March 2017 event- Balaji nagar\Balaji nagar maps\editted\1a.png">
            <a:extLst>
              <a:ext uri="{FF2B5EF4-FFF2-40B4-BE49-F238E27FC236}">
                <a16:creationId xmlns:a16="http://schemas.microsoft.com/office/drawing/2014/main" id="{4133B7AB-B617-714A-907B-80226BC942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8204" y="1138791"/>
            <a:ext cx="4259596" cy="4320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C:\Users\HP\Desktop\Desktop folders\March 2017 event- Balaji nagar\Balaji nagar maps\editted\1a.png">
            <a:extLst>
              <a:ext uri="{FF2B5EF4-FFF2-40B4-BE49-F238E27FC236}">
                <a16:creationId xmlns:a16="http://schemas.microsoft.com/office/drawing/2014/main" id="{6C8C77A8-98E3-B64A-AA25-B6D80814CF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7123" y="1120422"/>
            <a:ext cx="4258515" cy="4330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 descr="C:\Users\HP\Desktop\Desktop folders\March 2017 event- Balaji nagar\Balaji nagar maps\editted\1a.png">
            <a:extLst>
              <a:ext uri="{FF2B5EF4-FFF2-40B4-BE49-F238E27FC236}">
                <a16:creationId xmlns:a16="http://schemas.microsoft.com/office/drawing/2014/main" id="{14E66012-2397-E84F-B4B8-FD8D475818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6867" y="1089085"/>
            <a:ext cx="4335236" cy="4383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558F6990-E1D0-4D40-AC72-081FCEA37B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9029" y="1104213"/>
            <a:ext cx="4314704" cy="4383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90B285D6-3B1D-6247-B919-9981C608B1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5237" y="1124744"/>
            <a:ext cx="4280127" cy="4325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B8A3BEC0-505C-1B43-A1D1-A3EDE19A72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0621" y="1146355"/>
            <a:ext cx="4199084" cy="42552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>
            <a:extLst>
              <a:ext uri="{FF2B5EF4-FFF2-40B4-BE49-F238E27FC236}">
                <a16:creationId xmlns:a16="http://schemas.microsoft.com/office/drawing/2014/main" id="{71720C9B-1CB9-9647-A235-3CB4B3744F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1702" y="1145274"/>
            <a:ext cx="4199084" cy="4254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>
            <a:extLst>
              <a:ext uri="{FF2B5EF4-FFF2-40B4-BE49-F238E27FC236}">
                <a16:creationId xmlns:a16="http://schemas.microsoft.com/office/drawing/2014/main" id="{44937315-61D0-C14C-852B-3AB299AB79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3331" y="1177691"/>
            <a:ext cx="4188278" cy="4254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F8C4CBC0-5B46-7146-9ED7-0A4FCB6285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8735" y="1184175"/>
            <a:ext cx="4188278" cy="4244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>
            <a:extLst>
              <a:ext uri="{FF2B5EF4-FFF2-40B4-BE49-F238E27FC236}">
                <a16:creationId xmlns:a16="http://schemas.microsoft.com/office/drawing/2014/main" id="{396721FB-A175-EB46-B258-A6FE0285E9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7380" y="1123663"/>
            <a:ext cx="4233662" cy="4340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>
            <a:extLst>
              <a:ext uri="{FF2B5EF4-FFF2-40B4-BE49-F238E27FC236}">
                <a16:creationId xmlns:a16="http://schemas.microsoft.com/office/drawing/2014/main" id="{2097E147-2201-BF4B-A7B9-6D5452D23E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0091" y="1136630"/>
            <a:ext cx="4234742" cy="4324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22266F01-E127-EA44-B5E4-B0636974EAE2}"/>
              </a:ext>
            </a:extLst>
          </p:cNvPr>
          <p:cNvSpPr/>
          <p:nvPr/>
        </p:nvSpPr>
        <p:spPr>
          <a:xfrm>
            <a:off x="6198255" y="2744513"/>
            <a:ext cx="253933" cy="203147"/>
          </a:xfrm>
          <a:prstGeom prst="rect">
            <a:avLst/>
          </a:prstGeom>
          <a:solidFill>
            <a:srgbClr val="FF33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buClrTx/>
              <a:defRPr/>
            </a:pPr>
            <a:endParaRPr lang="en-US" sz="1226" kern="1200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803F2EA-017E-D249-9D96-F90A790325DE}"/>
              </a:ext>
            </a:extLst>
          </p:cNvPr>
          <p:cNvCxnSpPr/>
          <p:nvPr/>
        </p:nvCxnSpPr>
        <p:spPr>
          <a:xfrm>
            <a:off x="6147468" y="3325859"/>
            <a:ext cx="355507" cy="0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B694DE74-D95C-5240-A3BC-1A46CA3D71F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04548" y="2693728"/>
            <a:ext cx="1372321" cy="3798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04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04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04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04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85800">
              <a:buClrTx/>
              <a:defRPr/>
            </a:pPr>
            <a:r>
              <a:rPr lang="en-US" altLang="en-US" sz="934" kern="1200">
                <a:solidFill>
                  <a:prstClr val="black"/>
                </a:solidFill>
                <a:latin typeface="Trebuchet MS" panose="020B0603020202020204" pitchFamily="34" charset="0"/>
                <a:ea typeface="+mn-ea"/>
              </a:rPr>
              <a:t>Household toilets facilitated by SA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FEBD6E2-6B0A-B64F-8327-5762C206C9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04548" y="3160532"/>
            <a:ext cx="1372321" cy="3798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04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04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04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04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85800">
              <a:buClrTx/>
              <a:defRPr/>
            </a:pPr>
            <a:r>
              <a:rPr lang="en-US" altLang="en-US" sz="934" kern="1200">
                <a:solidFill>
                  <a:prstClr val="black"/>
                </a:solidFill>
                <a:latin typeface="Trebuchet MS" panose="020B0603020202020204" pitchFamily="34" charset="0"/>
                <a:ea typeface="+mn-ea"/>
              </a:rPr>
              <a:t>New drainage lines laid by PCMC  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2B7734B-0B93-7748-856C-495D861B003F}"/>
              </a:ext>
            </a:extLst>
          </p:cNvPr>
          <p:cNvCxnSpPr/>
          <p:nvPr/>
        </p:nvCxnSpPr>
        <p:spPr>
          <a:xfrm>
            <a:off x="6147468" y="3792664"/>
            <a:ext cx="355507" cy="0"/>
          </a:xfrm>
          <a:prstGeom prst="line">
            <a:avLst/>
          </a:prstGeom>
          <a:ln w="57150">
            <a:solidFill>
              <a:srgbClr val="FFC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5404DAE5-113A-D444-926E-0DB7C26145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04548" y="3665157"/>
            <a:ext cx="1372321" cy="667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04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04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04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04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85800">
              <a:buClrTx/>
              <a:defRPr/>
            </a:pPr>
            <a:r>
              <a:rPr lang="en-US" altLang="en-US" sz="934" kern="1200">
                <a:solidFill>
                  <a:prstClr val="black"/>
                </a:solidFill>
                <a:latin typeface="Trebuchet MS" panose="020B0603020202020204" pitchFamily="34" charset="0"/>
                <a:ea typeface="+mn-ea"/>
              </a:rPr>
              <a:t>New drainage lines being laid by PCMC- work in progress as of today  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5C7ABE82-991B-FF4E-AE00-69398AF7CA0F}"/>
              </a:ext>
            </a:extLst>
          </p:cNvPr>
          <p:cNvSpPr/>
          <p:nvPr/>
        </p:nvSpPr>
        <p:spPr>
          <a:xfrm>
            <a:off x="1006128" y="698673"/>
            <a:ext cx="7131744" cy="360910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buClrTx/>
              <a:defRPr/>
            </a:pPr>
            <a:r>
              <a:rPr lang="en-US" sz="2058" kern="1200" dirty="0">
                <a:solidFill>
                  <a:prstClr val="white"/>
                </a:solidFill>
                <a:latin typeface="Trebuchet MS" panose="020B0603020202020204" pitchFamily="34" charset="0"/>
              </a:rPr>
              <a:t>Monitoring and Tracking The Process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7C9BA39F-2FDA-504D-8907-FCAE3A205512}"/>
              </a:ext>
            </a:extLst>
          </p:cNvPr>
          <p:cNvSpPr txBox="1">
            <a:spLocks/>
          </p:cNvSpPr>
          <p:nvPr/>
        </p:nvSpPr>
        <p:spPr>
          <a:xfrm>
            <a:off x="228600" y="322201"/>
            <a:ext cx="6198665" cy="249299"/>
          </a:xfrm>
          <a:prstGeom prst="rect">
            <a:avLst/>
          </a:prstGeom>
        </p:spPr>
        <p:txBody>
          <a:bodyPr vert="horz" lIns="68580" tIns="34290" rIns="68580" bIns="3429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685800">
              <a:buClrTx/>
            </a:pPr>
            <a:r>
              <a:rPr lang="en-US" sz="27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Capabilities – GIS mapping</a:t>
            </a:r>
          </a:p>
        </p:txBody>
      </p:sp>
      <p:cxnSp>
        <p:nvCxnSpPr>
          <p:cNvPr id="30" name="Google Shape;68;p15">
            <a:extLst>
              <a:ext uri="{FF2B5EF4-FFF2-40B4-BE49-F238E27FC236}">
                <a16:creationId xmlns:a16="http://schemas.microsoft.com/office/drawing/2014/main" id="{6917565D-94A1-6849-9838-A2C9661DBA58}"/>
              </a:ext>
            </a:extLst>
          </p:cNvPr>
          <p:cNvCxnSpPr>
            <a:cxnSpLocks/>
          </p:cNvCxnSpPr>
          <p:nvPr/>
        </p:nvCxnSpPr>
        <p:spPr>
          <a:xfrm>
            <a:off x="228600" y="550801"/>
            <a:ext cx="8690883" cy="0"/>
          </a:xfrm>
          <a:prstGeom prst="straightConnector1">
            <a:avLst/>
          </a:prstGeom>
          <a:noFill/>
          <a:ln w="9525" cap="flat" cmpd="sng">
            <a:solidFill>
              <a:srgbClr val="434343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7404063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4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 nodeType="afterGroup">
                            <p:stCondLst>
                              <p:cond delay="4500"/>
                            </p:stCondLst>
                            <p:childTnLst>
                              <p:par>
                                <p:cTn id="5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 nodeType="afterGroup">
                            <p:stCondLst>
                              <p:cond delay="5000"/>
                            </p:stCondLst>
                            <p:childTnLst>
                              <p:par>
                                <p:cTn id="5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 nodeType="afterGroup">
                            <p:stCondLst>
                              <p:cond delay="5500"/>
                            </p:stCondLst>
                            <p:childTnLst>
                              <p:par>
                                <p:cTn id="5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 nodeType="afterGroup">
                            <p:stCondLst>
                              <p:cond delay="6000"/>
                            </p:stCondLst>
                            <p:childTnLst>
                              <p:par>
                                <p:cTn id="6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 nodeType="afterGroup">
                            <p:stCondLst>
                              <p:cond delay="6500"/>
                            </p:stCondLst>
                            <p:childTnLst>
                              <p:par>
                                <p:cTn id="6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 nodeType="afterGroup">
                            <p:stCondLst>
                              <p:cond delay="7000"/>
                            </p:stCondLst>
                            <p:childTnLst>
                              <p:par>
                                <p:cTn id="7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 nodeType="afterGroup">
                            <p:stCondLst>
                              <p:cond delay="7000"/>
                            </p:stCondLst>
                            <p:childTnLst>
                              <p:par>
                                <p:cTn id="7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49584CA-4AD5-8C44-99C2-AEB3988D3F25}"/>
              </a:ext>
            </a:extLst>
          </p:cNvPr>
          <p:cNvSpPr/>
          <p:nvPr/>
        </p:nvSpPr>
        <p:spPr>
          <a:xfrm>
            <a:off x="6669381" y="1250245"/>
            <a:ext cx="1546292" cy="385978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buClrTx/>
              <a:defRPr/>
            </a:pPr>
            <a:endParaRPr lang="en-US" sz="1226" kern="12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8675" name="TextBox 1">
            <a:extLst>
              <a:ext uri="{FF2B5EF4-FFF2-40B4-BE49-F238E27FC236}">
                <a16:creationId xmlns:a16="http://schemas.microsoft.com/office/drawing/2014/main" id="{94B089C7-7411-DB49-A23B-532FE1934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58083" y="2334055"/>
            <a:ext cx="1778614" cy="1790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04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04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04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04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5800">
              <a:buClrTx/>
            </a:pPr>
            <a:r>
              <a:rPr lang="en-US" altLang="en-US" sz="1226" b="1" kern="1200">
                <a:solidFill>
                  <a:prstClr val="white"/>
                </a:solidFill>
                <a:latin typeface="Trebuchet MS" panose="020B0703020202090204" pitchFamily="34" charset="0"/>
                <a:ea typeface="+mn-ea"/>
              </a:rPr>
              <a:t>Community Toilet Block:</a:t>
            </a:r>
          </a:p>
          <a:p>
            <a:pPr algn="ctr" defTabSz="685800">
              <a:buClrTx/>
            </a:pPr>
            <a:endParaRPr lang="en-US" altLang="en-US" sz="1226" b="1" kern="1200">
              <a:solidFill>
                <a:prstClr val="white"/>
              </a:solidFill>
              <a:latin typeface="Trebuchet MS" panose="020B0703020202090204" pitchFamily="34" charset="0"/>
              <a:ea typeface="+mn-ea"/>
            </a:endParaRPr>
          </a:p>
          <a:p>
            <a:pPr algn="ctr" defTabSz="685800">
              <a:buClrTx/>
            </a:pPr>
            <a:r>
              <a:rPr lang="en-US" altLang="en-US" sz="1226" b="1" kern="1200">
                <a:solidFill>
                  <a:prstClr val="white"/>
                </a:solidFill>
                <a:latin typeface="Trebuchet MS" panose="020B0703020202090204" pitchFamily="34" charset="0"/>
                <a:ea typeface="+mn-ea"/>
              </a:rPr>
              <a:t>Toilet seat: person</a:t>
            </a:r>
          </a:p>
          <a:p>
            <a:pPr algn="ctr" defTabSz="685800">
              <a:buClrTx/>
            </a:pPr>
            <a:r>
              <a:rPr lang="en-US" altLang="en-US" sz="1226" b="1" kern="1200">
                <a:solidFill>
                  <a:prstClr val="white"/>
                </a:solidFill>
                <a:latin typeface="Trebuchet MS" panose="020B0703020202090204" pitchFamily="34" charset="0"/>
                <a:ea typeface="+mn-ea"/>
              </a:rPr>
              <a:t> ratio has been brought down from </a:t>
            </a:r>
          </a:p>
          <a:p>
            <a:pPr algn="ctr" defTabSz="685800">
              <a:buClrTx/>
            </a:pPr>
            <a:r>
              <a:rPr lang="en-US" altLang="en-US" sz="1226" b="1" kern="1200">
                <a:solidFill>
                  <a:srgbClr val="FFFF00"/>
                </a:solidFill>
                <a:latin typeface="Trebuchet MS" panose="020B0703020202090204" pitchFamily="34" charset="0"/>
                <a:ea typeface="+mn-ea"/>
              </a:rPr>
              <a:t>1: 100</a:t>
            </a:r>
          </a:p>
          <a:p>
            <a:pPr algn="ctr" defTabSz="685800">
              <a:buClrTx/>
            </a:pPr>
            <a:r>
              <a:rPr lang="en-US" altLang="en-US" sz="1226" b="1" kern="1200">
                <a:solidFill>
                  <a:srgbClr val="FFFF00"/>
                </a:solidFill>
                <a:latin typeface="Trebuchet MS" panose="020B0703020202090204" pitchFamily="34" charset="0"/>
                <a:ea typeface="+mn-ea"/>
              </a:rPr>
              <a:t>to </a:t>
            </a:r>
          </a:p>
          <a:p>
            <a:pPr algn="ctr" defTabSz="685800">
              <a:buClrTx/>
            </a:pPr>
            <a:r>
              <a:rPr lang="en-US" altLang="en-US" sz="1226" b="1" kern="1200">
                <a:solidFill>
                  <a:srgbClr val="FFFF00"/>
                </a:solidFill>
                <a:latin typeface="Trebuchet MS" panose="020B0703020202090204" pitchFamily="34" charset="0"/>
                <a:ea typeface="+mn-ea"/>
              </a:rPr>
              <a:t>1: 31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1B0DFC34-6101-6841-B9F8-790B8C913438}"/>
              </a:ext>
            </a:extLst>
          </p:cNvPr>
          <p:cNvSpPr/>
          <p:nvPr/>
        </p:nvSpPr>
        <p:spPr>
          <a:xfrm>
            <a:off x="1006128" y="786684"/>
            <a:ext cx="7131744" cy="360910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buClrTx/>
              <a:defRPr/>
            </a:pPr>
            <a:r>
              <a:rPr lang="en-IN" altLang="en-US" sz="2058" kern="1200" dirty="0">
                <a:solidFill>
                  <a:prstClr val="white"/>
                </a:solidFill>
                <a:latin typeface="Trebuchet MS" panose="020B0603020202020204" pitchFamily="34" charset="0"/>
              </a:rPr>
              <a:t>Post Intervention-</a:t>
            </a:r>
            <a:r>
              <a:rPr lang="en-US" sz="2058" kern="1200" dirty="0">
                <a:solidFill>
                  <a:prstClr val="white"/>
                </a:solidFill>
                <a:latin typeface="Trebuchet MS" panose="020B0603020202020204" pitchFamily="34" charset="0"/>
              </a:rPr>
              <a:t>HH having Individual toilets- 77%</a:t>
            </a:r>
          </a:p>
        </p:txBody>
      </p:sp>
      <p:pic>
        <p:nvPicPr>
          <p:cNvPr id="28677" name="Picture 2" descr="Z:\01 _Smita tai\Balajinagarforppt.jpg">
            <a:extLst>
              <a:ext uri="{FF2B5EF4-FFF2-40B4-BE49-F238E27FC236}">
                <a16:creationId xmlns:a16="http://schemas.microsoft.com/office/drawing/2014/main" id="{EE61768E-3B15-F14D-A038-92A4E15F85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318" y="1230796"/>
            <a:ext cx="5486040" cy="3879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E1094DE1-9A7B-3A4B-BC4D-A825A8429359}"/>
              </a:ext>
            </a:extLst>
          </p:cNvPr>
          <p:cNvSpPr txBox="1">
            <a:spLocks/>
          </p:cNvSpPr>
          <p:nvPr/>
        </p:nvSpPr>
        <p:spPr>
          <a:xfrm>
            <a:off x="228600" y="322201"/>
            <a:ext cx="6198665" cy="249299"/>
          </a:xfrm>
          <a:prstGeom prst="rect">
            <a:avLst/>
          </a:prstGeom>
        </p:spPr>
        <p:txBody>
          <a:bodyPr vert="horz" lIns="68580" tIns="34290" rIns="68580" bIns="3429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685800">
              <a:buClrTx/>
            </a:pPr>
            <a:r>
              <a:rPr lang="en-US" sz="27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Capabilities – GIS mapping</a:t>
            </a:r>
          </a:p>
        </p:txBody>
      </p:sp>
      <p:cxnSp>
        <p:nvCxnSpPr>
          <p:cNvPr id="8" name="Google Shape;68;p15">
            <a:extLst>
              <a:ext uri="{FF2B5EF4-FFF2-40B4-BE49-F238E27FC236}">
                <a16:creationId xmlns:a16="http://schemas.microsoft.com/office/drawing/2014/main" id="{84B3E1B8-E1A9-164A-B579-71A562B6C494}"/>
              </a:ext>
            </a:extLst>
          </p:cNvPr>
          <p:cNvCxnSpPr>
            <a:cxnSpLocks/>
          </p:cNvCxnSpPr>
          <p:nvPr/>
        </p:nvCxnSpPr>
        <p:spPr>
          <a:xfrm>
            <a:off x="228600" y="550801"/>
            <a:ext cx="8690883" cy="0"/>
          </a:xfrm>
          <a:prstGeom prst="straightConnector1">
            <a:avLst/>
          </a:prstGeom>
          <a:noFill/>
          <a:ln w="9525" cap="flat" cmpd="sng">
            <a:solidFill>
              <a:srgbClr val="434343"/>
            </a:solidFill>
            <a:prstDash val="solid"/>
            <a:round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54740261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6">
            <a:extLst>
              <a:ext uri="{FF2B5EF4-FFF2-40B4-BE49-F238E27FC236}">
                <a16:creationId xmlns:a16="http://schemas.microsoft.com/office/drawing/2014/main" id="{3657710B-C60F-5043-ABD9-F5529C8500F1}"/>
              </a:ext>
            </a:extLst>
          </p:cNvPr>
          <p:cNvSpPr txBox="1">
            <a:spLocks/>
          </p:cNvSpPr>
          <p:nvPr/>
        </p:nvSpPr>
        <p:spPr>
          <a:xfrm>
            <a:off x="228600" y="322201"/>
            <a:ext cx="6198665" cy="249299"/>
          </a:xfrm>
          <a:prstGeom prst="rect">
            <a:avLst/>
          </a:prstGeom>
        </p:spPr>
        <p:txBody>
          <a:bodyPr vert="horz" lIns="68580" tIns="34290" rIns="68580" bIns="3429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685800">
              <a:buClrTx/>
            </a:pPr>
            <a:r>
              <a:rPr lang="en-US" sz="27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Capabilities – Mobile App</a:t>
            </a:r>
          </a:p>
        </p:txBody>
      </p:sp>
      <p:cxnSp>
        <p:nvCxnSpPr>
          <p:cNvPr id="9" name="Google Shape;68;p15">
            <a:extLst>
              <a:ext uri="{FF2B5EF4-FFF2-40B4-BE49-F238E27FC236}">
                <a16:creationId xmlns:a16="http://schemas.microsoft.com/office/drawing/2014/main" id="{4E11DB45-C7C8-864F-8D88-4400BFAF1769}"/>
              </a:ext>
            </a:extLst>
          </p:cNvPr>
          <p:cNvCxnSpPr>
            <a:cxnSpLocks/>
          </p:cNvCxnSpPr>
          <p:nvPr/>
        </p:nvCxnSpPr>
        <p:spPr>
          <a:xfrm>
            <a:off x="228600" y="550801"/>
            <a:ext cx="8690883" cy="0"/>
          </a:xfrm>
          <a:prstGeom prst="straightConnector1">
            <a:avLst/>
          </a:prstGeom>
          <a:noFill/>
          <a:ln w="9525" cap="flat" cmpd="sng">
            <a:solidFill>
              <a:srgbClr val="434343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58C83BA2-3FDC-B24E-923A-3902AA4DC7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568" y="803532"/>
            <a:ext cx="2357961" cy="419193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84A63EA-3737-3F4E-928F-80E45C2009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29001" y="779401"/>
            <a:ext cx="2371534" cy="421606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FA9C46C-480E-7F41-8E9D-52E89BC50F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80319" y="779402"/>
            <a:ext cx="2371531" cy="4216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349704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6">
            <a:extLst>
              <a:ext uri="{FF2B5EF4-FFF2-40B4-BE49-F238E27FC236}">
                <a16:creationId xmlns:a16="http://schemas.microsoft.com/office/drawing/2014/main" id="{3657710B-C60F-5043-ABD9-F5529C8500F1}"/>
              </a:ext>
            </a:extLst>
          </p:cNvPr>
          <p:cNvSpPr txBox="1">
            <a:spLocks/>
          </p:cNvSpPr>
          <p:nvPr/>
        </p:nvSpPr>
        <p:spPr>
          <a:xfrm>
            <a:off x="228600" y="322201"/>
            <a:ext cx="6198665" cy="249299"/>
          </a:xfrm>
          <a:prstGeom prst="rect">
            <a:avLst/>
          </a:prstGeom>
        </p:spPr>
        <p:txBody>
          <a:bodyPr vert="horz" lIns="68580" tIns="34290" rIns="68580" bIns="3429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685800">
              <a:buClrTx/>
            </a:pPr>
            <a:r>
              <a:rPr lang="en-US" sz="27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Capabilities - Dashboard</a:t>
            </a:r>
          </a:p>
        </p:txBody>
      </p:sp>
      <p:cxnSp>
        <p:nvCxnSpPr>
          <p:cNvPr id="9" name="Google Shape;68;p15">
            <a:extLst>
              <a:ext uri="{FF2B5EF4-FFF2-40B4-BE49-F238E27FC236}">
                <a16:creationId xmlns:a16="http://schemas.microsoft.com/office/drawing/2014/main" id="{4E11DB45-C7C8-864F-8D88-4400BFAF1769}"/>
              </a:ext>
            </a:extLst>
          </p:cNvPr>
          <p:cNvCxnSpPr>
            <a:cxnSpLocks/>
          </p:cNvCxnSpPr>
          <p:nvPr/>
        </p:nvCxnSpPr>
        <p:spPr>
          <a:xfrm>
            <a:off x="228600" y="550801"/>
            <a:ext cx="8690883" cy="0"/>
          </a:xfrm>
          <a:prstGeom prst="straightConnector1">
            <a:avLst/>
          </a:prstGeom>
          <a:noFill/>
          <a:ln w="9525" cap="flat" cmpd="sng">
            <a:solidFill>
              <a:srgbClr val="434343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D839634B-2393-564F-8E8C-EB390DC78D6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780266"/>
            <a:ext cx="7591425" cy="415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891705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6">
            <a:extLst>
              <a:ext uri="{FF2B5EF4-FFF2-40B4-BE49-F238E27FC236}">
                <a16:creationId xmlns:a16="http://schemas.microsoft.com/office/drawing/2014/main" id="{3657710B-C60F-5043-ABD9-F5529C8500F1}"/>
              </a:ext>
            </a:extLst>
          </p:cNvPr>
          <p:cNvSpPr txBox="1">
            <a:spLocks/>
          </p:cNvSpPr>
          <p:nvPr/>
        </p:nvSpPr>
        <p:spPr>
          <a:xfrm>
            <a:off x="228600" y="322201"/>
            <a:ext cx="6198665" cy="249299"/>
          </a:xfrm>
          <a:prstGeom prst="rect">
            <a:avLst/>
          </a:prstGeom>
        </p:spPr>
        <p:txBody>
          <a:bodyPr vert="horz" lIns="68580" tIns="34290" rIns="68580" bIns="3429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685800">
              <a:buClrTx/>
            </a:pPr>
            <a:r>
              <a:rPr lang="en-US" sz="27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Capabilities - Dashboard</a:t>
            </a:r>
          </a:p>
        </p:txBody>
      </p:sp>
      <p:cxnSp>
        <p:nvCxnSpPr>
          <p:cNvPr id="9" name="Google Shape;68;p15">
            <a:extLst>
              <a:ext uri="{FF2B5EF4-FFF2-40B4-BE49-F238E27FC236}">
                <a16:creationId xmlns:a16="http://schemas.microsoft.com/office/drawing/2014/main" id="{4E11DB45-C7C8-864F-8D88-4400BFAF1769}"/>
              </a:ext>
            </a:extLst>
          </p:cNvPr>
          <p:cNvCxnSpPr>
            <a:cxnSpLocks/>
          </p:cNvCxnSpPr>
          <p:nvPr/>
        </p:nvCxnSpPr>
        <p:spPr>
          <a:xfrm>
            <a:off x="228600" y="550801"/>
            <a:ext cx="8690883" cy="0"/>
          </a:xfrm>
          <a:prstGeom prst="straightConnector1">
            <a:avLst/>
          </a:prstGeom>
          <a:noFill/>
          <a:ln w="9525" cap="flat" cmpd="sng">
            <a:solidFill>
              <a:srgbClr val="434343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9AF79A0C-5538-5E43-BFB5-C1095D9724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550" y="791383"/>
            <a:ext cx="7875399" cy="4139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47086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488641F-0F5D-46F4-B07D-BAF70A5A4A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488641F-0F5D-46F4-B07D-BAF70A5A4A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6">
            <a:extLst>
              <a:ext uri="{FF2B5EF4-FFF2-40B4-BE49-F238E27FC236}">
                <a16:creationId xmlns:a16="http://schemas.microsoft.com/office/drawing/2014/main" id="{81DA04DF-CF5D-3349-9160-1E1F43D61B27}"/>
              </a:ext>
            </a:extLst>
          </p:cNvPr>
          <p:cNvSpPr txBox="1">
            <a:spLocks/>
          </p:cNvSpPr>
          <p:nvPr/>
        </p:nvSpPr>
        <p:spPr>
          <a:xfrm>
            <a:off x="228600" y="322201"/>
            <a:ext cx="6198665" cy="249299"/>
          </a:xfrm>
          <a:prstGeom prst="rect">
            <a:avLst/>
          </a:prstGeom>
        </p:spPr>
        <p:txBody>
          <a:bodyPr vert="horz" lIns="68580" tIns="34290" rIns="68580" bIns="3429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685800">
              <a:buClrTx/>
            </a:pPr>
            <a:r>
              <a:rPr lang="en-US" sz="27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Conclusion</a:t>
            </a:r>
          </a:p>
        </p:txBody>
      </p:sp>
      <p:cxnSp>
        <p:nvCxnSpPr>
          <p:cNvPr id="7" name="Google Shape;68;p15">
            <a:extLst>
              <a:ext uri="{FF2B5EF4-FFF2-40B4-BE49-F238E27FC236}">
                <a16:creationId xmlns:a16="http://schemas.microsoft.com/office/drawing/2014/main" id="{4A0404AA-4B72-F744-BE48-F8B1834F2404}"/>
              </a:ext>
            </a:extLst>
          </p:cNvPr>
          <p:cNvCxnSpPr>
            <a:cxnSpLocks/>
          </p:cNvCxnSpPr>
          <p:nvPr/>
        </p:nvCxnSpPr>
        <p:spPr>
          <a:xfrm>
            <a:off x="228600" y="550801"/>
            <a:ext cx="8690883" cy="0"/>
          </a:xfrm>
          <a:prstGeom prst="straightConnector1">
            <a:avLst/>
          </a:prstGeom>
          <a:noFill/>
          <a:ln w="9525" cap="flat" cmpd="sng">
            <a:solidFill>
              <a:srgbClr val="43434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767EA93-D3BE-8149-AE2A-AD64818E685C}"/>
              </a:ext>
            </a:extLst>
          </p:cNvPr>
          <p:cNvSpPr/>
          <p:nvPr/>
        </p:nvSpPr>
        <p:spPr>
          <a:xfrm>
            <a:off x="4220228" y="1655279"/>
            <a:ext cx="3567348" cy="360910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buClrTx/>
              <a:defRPr/>
            </a:pPr>
            <a:r>
              <a:rPr lang="en-US" sz="2134" kern="1200" dirty="0">
                <a:solidFill>
                  <a:prstClr val="white"/>
                </a:solidFill>
                <a:latin typeface="Trebuchet MS" panose="020B0603020202020204" pitchFamily="34" charset="0"/>
              </a:rPr>
              <a:t>Empowered Rani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30D3085-A486-814C-8B65-A437B19F3D3F}"/>
              </a:ext>
            </a:extLst>
          </p:cNvPr>
          <p:cNvSpPr/>
          <p:nvPr/>
        </p:nvSpPr>
        <p:spPr>
          <a:xfrm>
            <a:off x="4220228" y="2141333"/>
            <a:ext cx="3567348" cy="360910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buClrTx/>
              <a:defRPr/>
            </a:pPr>
            <a:r>
              <a:rPr lang="en-US" sz="2134" kern="1200" dirty="0">
                <a:solidFill>
                  <a:prstClr val="white"/>
                </a:solidFill>
                <a:latin typeface="Trebuchet MS" panose="020B0603020202020204" pitchFamily="34" charset="0"/>
              </a:rPr>
              <a:t>Aware Family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F51B7133-E541-9347-B65B-1F1A781E8D88}"/>
              </a:ext>
            </a:extLst>
          </p:cNvPr>
          <p:cNvSpPr/>
          <p:nvPr/>
        </p:nvSpPr>
        <p:spPr>
          <a:xfrm>
            <a:off x="4220228" y="2614544"/>
            <a:ext cx="3567348" cy="360910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buClrTx/>
              <a:defRPr/>
            </a:pPr>
            <a:r>
              <a:rPr lang="en-US" sz="2134" kern="1200" dirty="0">
                <a:solidFill>
                  <a:prstClr val="white"/>
                </a:solidFill>
                <a:latin typeface="Trebuchet MS" panose="020B0603020202020204" pitchFamily="34" charset="0"/>
              </a:rPr>
              <a:t>Healthy Community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7E7AE7B8-35AE-C34A-89C6-3667E7C0F8CC}"/>
              </a:ext>
            </a:extLst>
          </p:cNvPr>
          <p:cNvSpPr/>
          <p:nvPr/>
        </p:nvSpPr>
        <p:spPr>
          <a:xfrm>
            <a:off x="4220228" y="3087755"/>
            <a:ext cx="3567348" cy="360910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buClrTx/>
              <a:defRPr/>
            </a:pPr>
            <a:r>
              <a:rPr lang="en-US" sz="2134" kern="1200" dirty="0">
                <a:solidFill>
                  <a:prstClr val="white"/>
                </a:solidFill>
                <a:latin typeface="Trebuchet MS" panose="020B0603020202020204" pitchFamily="34" charset="0"/>
              </a:rPr>
              <a:t>Informed Donors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7631D3CE-E9D8-E440-B528-8402D59870C9}"/>
              </a:ext>
            </a:extLst>
          </p:cNvPr>
          <p:cNvSpPr/>
          <p:nvPr/>
        </p:nvSpPr>
        <p:spPr>
          <a:xfrm>
            <a:off x="4232468" y="3570861"/>
            <a:ext cx="3567348" cy="360910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buClrTx/>
              <a:defRPr/>
            </a:pPr>
            <a:r>
              <a:rPr lang="en-US" sz="2134" kern="1200" dirty="0">
                <a:solidFill>
                  <a:prstClr val="white"/>
                </a:solidFill>
                <a:latin typeface="Trebuchet MS" panose="020B0603020202020204" pitchFamily="34" charset="0"/>
              </a:rPr>
              <a:t>Proactive Policy Maker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8EA7A1E-C7AF-B64A-A846-6CF0C6CF959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34608" y="932985"/>
            <a:ext cx="2093252" cy="3819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448420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Google Shape;258;p47"/>
          <p:cNvSpPr txBox="1">
            <a:spLocks noGrp="1"/>
          </p:cNvSpPr>
          <p:nvPr>
            <p:ph type="body" idx="2"/>
          </p:nvPr>
        </p:nvSpPr>
        <p:spPr>
          <a:xfrm>
            <a:off x="137350" y="622050"/>
            <a:ext cx="8758800" cy="405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buNone/>
            </a:pPr>
            <a:r>
              <a:rPr lang="en-AU" b="1" dirty="0"/>
              <a:t>Any Questions?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1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1" dirty="0"/>
          </a:p>
        </p:txBody>
      </p:sp>
    </p:spTree>
    <p:extLst>
      <p:ext uri="{BB962C8B-B14F-4D97-AF65-F5344CB8AC3E}">
        <p14:creationId xmlns:p14="http://schemas.microsoft.com/office/powerpoint/2010/main" val="2036058576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" name="Google Shape;283;p50"/>
          <p:cNvSpPr txBox="1">
            <a:spLocks noGrp="1"/>
          </p:cNvSpPr>
          <p:nvPr>
            <p:ph type="body" idx="2"/>
          </p:nvPr>
        </p:nvSpPr>
        <p:spPr>
          <a:xfrm>
            <a:off x="137350" y="622050"/>
            <a:ext cx="8758800" cy="405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b="1" dirty="0"/>
              <a:t>What Next?</a:t>
            </a:r>
            <a:endParaRPr b="1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3C5A94E-3832-49D6-84A0-235FCDDBBE8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02660362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" name="Google Shape;283;p50"/>
          <p:cNvSpPr txBox="1">
            <a:spLocks noGrp="1"/>
          </p:cNvSpPr>
          <p:nvPr>
            <p:ph type="body" idx="2"/>
          </p:nvPr>
        </p:nvSpPr>
        <p:spPr>
          <a:xfrm>
            <a:off x="137350" y="622050"/>
            <a:ext cx="8758800" cy="405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b="1" dirty="0"/>
              <a:t>Timeline</a:t>
            </a:r>
            <a:endParaRPr b="1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3C5A94E-3832-49D6-84A0-235FCDDBBE8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AU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9A6A5C5-6DFB-4FD0-A55D-92DF707AC723}"/>
              </a:ext>
            </a:extLst>
          </p:cNvPr>
          <p:cNvCxnSpPr>
            <a:cxnSpLocks/>
          </p:cNvCxnSpPr>
          <p:nvPr/>
        </p:nvCxnSpPr>
        <p:spPr>
          <a:xfrm flipV="1">
            <a:off x="821410" y="2754824"/>
            <a:ext cx="7260956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2CB8E50-6462-4113-BD43-D863A35AD1A4}"/>
              </a:ext>
            </a:extLst>
          </p:cNvPr>
          <p:cNvCxnSpPr>
            <a:cxnSpLocks/>
          </p:cNvCxnSpPr>
          <p:nvPr/>
        </p:nvCxnSpPr>
        <p:spPr>
          <a:xfrm>
            <a:off x="1363851" y="2564324"/>
            <a:ext cx="0" cy="38100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E243B0D-9E89-47E5-AA3B-16C0C9CD3684}"/>
              </a:ext>
            </a:extLst>
          </p:cNvPr>
          <p:cNvCxnSpPr>
            <a:cxnSpLocks/>
          </p:cNvCxnSpPr>
          <p:nvPr/>
        </p:nvCxnSpPr>
        <p:spPr>
          <a:xfrm>
            <a:off x="3095786" y="2564324"/>
            <a:ext cx="0" cy="38100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A5FE80B6-BA11-4863-A4D8-A352EC7E6047}"/>
              </a:ext>
            </a:extLst>
          </p:cNvPr>
          <p:cNvSpPr/>
          <p:nvPr/>
        </p:nvSpPr>
        <p:spPr>
          <a:xfrm>
            <a:off x="995771" y="2036722"/>
            <a:ext cx="864025" cy="4120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tx1"/>
                </a:solidFill>
              </a:rPr>
              <a:t>Demo Da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8C7634F-B035-4699-BC62-ADB216CFDBD5}"/>
              </a:ext>
            </a:extLst>
          </p:cNvPr>
          <p:cNvSpPr/>
          <p:nvPr/>
        </p:nvSpPr>
        <p:spPr>
          <a:xfrm>
            <a:off x="2663773" y="3010532"/>
            <a:ext cx="864025" cy="4120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 b="1" dirty="0">
                <a:solidFill>
                  <a:schemeClr val="tx1"/>
                </a:solidFill>
              </a:rPr>
              <a:t>3 months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3BE1EFB-D95B-4250-8E72-4D717ABBB19E}"/>
              </a:ext>
            </a:extLst>
          </p:cNvPr>
          <p:cNvCxnSpPr>
            <a:cxnSpLocks/>
          </p:cNvCxnSpPr>
          <p:nvPr/>
        </p:nvCxnSpPr>
        <p:spPr>
          <a:xfrm>
            <a:off x="7622583" y="2604362"/>
            <a:ext cx="0" cy="38100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51746A1D-9D31-4E71-B7E0-09853C5E173F}"/>
              </a:ext>
            </a:extLst>
          </p:cNvPr>
          <p:cNvSpPr/>
          <p:nvPr/>
        </p:nvSpPr>
        <p:spPr>
          <a:xfrm>
            <a:off x="7159573" y="2001855"/>
            <a:ext cx="864025" cy="4120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b="1" dirty="0">
                <a:solidFill>
                  <a:schemeClr val="tx1"/>
                </a:solidFill>
              </a:rPr>
              <a:t>2 </a:t>
            </a:r>
            <a:r>
              <a:rPr lang="en-AU" b="1" dirty="0" err="1">
                <a:solidFill>
                  <a:schemeClr val="tx1"/>
                </a:solidFill>
              </a:rPr>
              <a:t>yrs</a:t>
            </a:r>
            <a:endParaRPr lang="en-AU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9146153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" name="Google Shape;283;p50"/>
          <p:cNvSpPr txBox="1">
            <a:spLocks noGrp="1"/>
          </p:cNvSpPr>
          <p:nvPr>
            <p:ph type="body" idx="2"/>
          </p:nvPr>
        </p:nvSpPr>
        <p:spPr>
          <a:xfrm>
            <a:off x="137350" y="622050"/>
            <a:ext cx="8758800" cy="405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b="1" dirty="0"/>
              <a:t>Targeting : 1 or 2 Location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b="1" dirty="0" err="1"/>
              <a:t>Beneficieries</a:t>
            </a:r>
            <a:r>
              <a:rPr lang="en-AU" b="1" dirty="0"/>
              <a:t>: </a:t>
            </a:r>
            <a:r>
              <a:rPr lang="en-AU" sz="4000" b="1" dirty="0"/>
              <a:t>1500+ (per loc)</a:t>
            </a:r>
            <a:endParaRPr lang="en-AU" b="1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b="1" dirty="0"/>
              <a:t>Funding: $ 0.6 to $1m</a:t>
            </a:r>
            <a:endParaRPr b="1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3C5A94E-3832-49D6-84A0-235FCDDBBE8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168302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CD36D1-D343-4204-B28D-43E9E6D45D7A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b="1" dirty="0"/>
              <a:t>Suhit Anantula</a:t>
            </a:r>
          </a:p>
          <a:p>
            <a:pPr marL="0" indent="0">
              <a:buNone/>
            </a:pPr>
            <a:r>
              <a:rPr lang="en-GB" sz="3600" b="1" dirty="0"/>
              <a:t>NESTA</a:t>
            </a:r>
            <a:endParaRPr lang="en-AU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1DD1F505-E426-4C21-9B98-846024DE090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90725210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" name="Google Shape;283;p50"/>
          <p:cNvSpPr txBox="1">
            <a:spLocks noGrp="1"/>
          </p:cNvSpPr>
          <p:nvPr>
            <p:ph type="body" idx="2"/>
          </p:nvPr>
        </p:nvSpPr>
        <p:spPr>
          <a:xfrm>
            <a:off x="137350" y="622050"/>
            <a:ext cx="8758800" cy="405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b="1" dirty="0"/>
              <a:t>Funding the System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3C5A94E-3832-49D6-84A0-235FCDDBBE8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74569536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" name="Google Shape;283;p50"/>
          <p:cNvSpPr txBox="1">
            <a:spLocks noGrp="1"/>
          </p:cNvSpPr>
          <p:nvPr>
            <p:ph type="body" idx="2"/>
          </p:nvPr>
        </p:nvSpPr>
        <p:spPr>
          <a:xfrm>
            <a:off x="137350" y="622050"/>
            <a:ext cx="8758800" cy="405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b="1" dirty="0"/>
              <a:t>Gaps and Other opportuniti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3C5A94E-3832-49D6-84A0-235FCDDBBE8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307931119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Google Shape;258;p47"/>
          <p:cNvSpPr txBox="1">
            <a:spLocks noGrp="1"/>
          </p:cNvSpPr>
          <p:nvPr>
            <p:ph type="body" idx="2"/>
          </p:nvPr>
        </p:nvSpPr>
        <p:spPr>
          <a:xfrm>
            <a:off x="137350" y="622050"/>
            <a:ext cx="8758800" cy="405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buNone/>
            </a:pPr>
            <a:r>
              <a:rPr lang="en-AU" b="1" dirty="0"/>
              <a:t>Any Questions?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1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1" dirty="0"/>
          </a:p>
        </p:txBody>
      </p:sp>
    </p:spTree>
    <p:extLst>
      <p:ext uri="{BB962C8B-B14F-4D97-AF65-F5344CB8AC3E}">
        <p14:creationId xmlns:p14="http://schemas.microsoft.com/office/powerpoint/2010/main" val="2027791537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E7D3DBD3-785F-4805-A575-435B894B4DE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CD36D1-D343-4204-B28D-43E9E6D45D7A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pPr marL="0" indent="0">
              <a:buNone/>
            </a:pPr>
            <a:endParaRPr lang="en-GB" sz="3600" b="1" dirty="0"/>
          </a:p>
          <a:p>
            <a:pPr marL="0" indent="0">
              <a:buNone/>
            </a:pPr>
            <a:r>
              <a:rPr lang="en-GB" sz="3600" b="1" dirty="0" err="1"/>
              <a:t>Hemang</a:t>
            </a:r>
            <a:r>
              <a:rPr lang="en-GB" sz="3600" b="1" dirty="0"/>
              <a:t> Shah &amp; </a:t>
            </a:r>
            <a:r>
              <a:rPr lang="en-GB" sz="3600" b="1" dirty="0" err="1"/>
              <a:t>Biva</a:t>
            </a:r>
            <a:r>
              <a:rPr lang="en-GB" sz="3600" b="1" dirty="0"/>
              <a:t> </a:t>
            </a:r>
            <a:r>
              <a:rPr lang="en-GB" sz="3600" b="1" dirty="0" err="1"/>
              <a:t>Rajbhandari</a:t>
            </a:r>
            <a:endParaRPr lang="en-GB" sz="3600" b="1" dirty="0"/>
          </a:p>
          <a:p>
            <a:pPr marL="0" indent="0">
              <a:buNone/>
            </a:pPr>
            <a:r>
              <a:rPr lang="en-GB" sz="2400" b="1" dirty="0" err="1"/>
              <a:t>Childrens</a:t>
            </a:r>
            <a:r>
              <a:rPr lang="en-GB" sz="2400" b="1" dirty="0"/>
              <a:t> Investment Fund Foundation</a:t>
            </a:r>
            <a:endParaRPr lang="en-AU" sz="2400" dirty="0"/>
          </a:p>
        </p:txBody>
      </p:sp>
      <p:pic>
        <p:nvPicPr>
          <p:cNvPr id="1026" name="Picture 2" descr="https://lh5.googleusercontent.com/vqMGrdZIa8qqXwLhB0-Ck1Nvp3JqGSEfGRAFn8zMcWmZL8aLj3SEvF-KWr3-DheFJo6CcvVAtySy8FTTFESi2ZaRsP9PtegvYdyVjSCHLZxd3UjyWGacTRwlijgtzR7RzgrfEjVJdSQ">
            <a:extLst>
              <a:ext uri="{FF2B5EF4-FFF2-40B4-BE49-F238E27FC236}">
                <a16:creationId xmlns:a16="http://schemas.microsoft.com/office/drawing/2014/main" id="{3D0D4570-4ECF-4532-9B3B-368AFF16FD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4707" y="3877802"/>
            <a:ext cx="2158480" cy="519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5848228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Google Shape;630;p104"/>
          <p:cNvSpPr txBox="1">
            <a:spLocks noGrp="1"/>
          </p:cNvSpPr>
          <p:nvPr>
            <p:ph type="subTitle" idx="1"/>
          </p:nvPr>
        </p:nvSpPr>
        <p:spPr>
          <a:xfrm>
            <a:off x="246300" y="2227775"/>
            <a:ext cx="3767400" cy="115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4800" b="1"/>
              <a:t>Thank You</a:t>
            </a:r>
            <a:endParaRPr sz="4800" b="1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9E1D73D1-2710-40A6-91B8-4044EE75A36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CD36D1-D343-4204-B28D-43E9E6D45D7A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3600" b="1" dirty="0"/>
              <a:t>The Malnutrition Challeng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7317596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>
            <a:extLst>
              <a:ext uri="{FF2B5EF4-FFF2-40B4-BE49-F238E27FC236}">
                <a16:creationId xmlns:a16="http://schemas.microsoft.com/office/drawing/2014/main" id="{AD484E52-485D-4B02-BC31-1511428B049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283" name="Google Shape;283;p50"/>
          <p:cNvSpPr txBox="1">
            <a:spLocks noGrp="1"/>
          </p:cNvSpPr>
          <p:nvPr>
            <p:ph type="body" idx="2"/>
          </p:nvPr>
        </p:nvSpPr>
        <p:spPr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AU" sz="2400" b="1" dirty="0"/>
              <a:t>The Ecosystem of Malnutrition</a:t>
            </a:r>
            <a:endParaRPr sz="4800" b="1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903EE193-B5F8-437A-A95F-AED2CDA9D592}"/>
              </a:ext>
            </a:extLst>
          </p:cNvPr>
          <p:cNvSpPr>
            <a:spLocks noGrp="1"/>
          </p:cNvSpPr>
          <p:nvPr>
            <p:ph type="subTitle" idx="3"/>
          </p:nvPr>
        </p:nvSpPr>
        <p:spPr>
          <a:xfrm>
            <a:off x="137350" y="2230934"/>
            <a:ext cx="3158700" cy="281100"/>
          </a:xfrm>
        </p:spPr>
        <p:txBody>
          <a:bodyPr/>
          <a:lstStyle/>
          <a:p>
            <a:r>
              <a:rPr lang="en-AU" sz="1800" dirty="0"/>
              <a:t>Seeing the problem as a system and solving it as a system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FAEB8C6-386F-45E1-BA9A-376C2B25B1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86829" y="568920"/>
            <a:ext cx="4081492" cy="3886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3258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sta Templates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Advantage">
  <a:themeElements>
    <a:clrScheme name="Advantage">
      <a:dk1>
        <a:sysClr val="windowText" lastClr="000000"/>
      </a:dk1>
      <a:lt1>
        <a:sysClr val="window" lastClr="FFFFFF"/>
      </a:lt1>
      <a:dk2>
        <a:srgbClr val="2B142D"/>
      </a:dk2>
      <a:lt2>
        <a:srgbClr val="C3AFCC"/>
      </a:lt2>
      <a:accent1>
        <a:srgbClr val="663366"/>
      </a:accent1>
      <a:accent2>
        <a:srgbClr val="330F42"/>
      </a:accent2>
      <a:accent3>
        <a:srgbClr val="666699"/>
      </a:accent3>
      <a:accent4>
        <a:srgbClr val="999966"/>
      </a:accent4>
      <a:accent5>
        <a:srgbClr val="F7901E"/>
      </a:accent5>
      <a:accent6>
        <a:srgbClr val="A3A101"/>
      </a:accent6>
      <a:hlink>
        <a:srgbClr val="BC5FBC"/>
      </a:hlink>
      <a:folHlink>
        <a:srgbClr val="9775A7"/>
      </a:folHlink>
    </a:clrScheme>
    <a:fontScheme name="Advantage">
      <a:majorFont>
        <a:latin typeface="Rockwell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Rockwell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Advantage">
      <a:fillStyleLst>
        <a:solidFill>
          <a:schemeClr val="phClr"/>
        </a:solidFill>
        <a:gradFill rotWithShape="1">
          <a:gsLst>
            <a:gs pos="0">
              <a:schemeClr val="phClr">
                <a:tint val="100000"/>
                <a:shade val="40000"/>
                <a:alpha val="100000"/>
                <a:satMod val="150000"/>
                <a:lumMod val="100000"/>
              </a:schemeClr>
            </a:gs>
            <a:gs pos="100000">
              <a:schemeClr val="phClr">
                <a:tint val="70000"/>
                <a:shade val="100000"/>
                <a:alpha val="100000"/>
                <a:satMod val="200000"/>
                <a:lumMod val="100000"/>
              </a:schemeClr>
            </a:gs>
          </a:gsLst>
          <a:lin ang="6000000" scaled="1"/>
        </a:gradFill>
        <a:gradFill rotWithShape="1">
          <a:gsLst>
            <a:gs pos="0">
              <a:schemeClr val="phClr">
                <a:shade val="40000"/>
                <a:alpha val="100000"/>
                <a:satMod val="150000"/>
                <a:lumMod val="100000"/>
              </a:schemeClr>
            </a:gs>
            <a:gs pos="100000">
              <a:schemeClr val="phClr">
                <a:tint val="70000"/>
                <a:shade val="100000"/>
                <a:alpha val="100000"/>
                <a:satMod val="200000"/>
                <a:lumMod val="100000"/>
              </a:schemeClr>
            </a:gs>
          </a:gsLst>
          <a:lin ang="5400000" scaled="1"/>
        </a:gra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50800" dist="25400" dir="13500000">
              <a:srgbClr val="FFFFFF">
                <a:alpha val="75000"/>
              </a:srgbClr>
            </a:innerShdw>
            <a:outerShdw blurRad="63500" dist="25400" dir="5400000" rotWithShape="0">
              <a:srgbClr val="808080">
                <a:alpha val="75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twoPt" dir="tl">
              <a:rot lat="0" lon="0" rev="4500000"/>
            </a:lightRig>
          </a:scene3d>
          <a:sp3d>
            <a:bevelT w="635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1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035</TotalTime>
  <Words>1134</Words>
  <Application>Microsoft Office PowerPoint</Application>
  <PresentationFormat>On-screen Show (16:9)</PresentationFormat>
  <Paragraphs>288</Paragraphs>
  <Slides>74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4</vt:i4>
      </vt:variant>
    </vt:vector>
  </HeadingPairs>
  <TitlesOfParts>
    <vt:vector size="87" baseType="lpstr">
      <vt:lpstr>Arial</vt:lpstr>
      <vt:lpstr>Century Gothic</vt:lpstr>
      <vt:lpstr>Wingdings</vt:lpstr>
      <vt:lpstr>Calibri</vt:lpstr>
      <vt:lpstr>Rockwell</vt:lpstr>
      <vt:lpstr>Rockwell (Body)</vt:lpstr>
      <vt:lpstr>Trebuchet MS</vt:lpstr>
      <vt:lpstr>Calibri Light</vt:lpstr>
      <vt:lpstr>Nesta Templates</vt:lpstr>
      <vt:lpstr>Advantage</vt:lpstr>
      <vt:lpstr>Office Theme</vt:lpstr>
      <vt:lpstr>1_Office Theme</vt:lpstr>
      <vt:lpstr>think-cell Slide</vt:lpstr>
      <vt:lpstr>Demo Day Acute Malnutrition Prevention Lab  India 2019 </vt:lpstr>
      <vt:lpstr>PowerPoint Presentation</vt:lpstr>
      <vt:lpstr>PowerPoint Presentation</vt:lpstr>
      <vt:lpstr>Why the Lab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defining Nutrition  </vt:lpstr>
      <vt:lpstr>Rani </vt:lpstr>
      <vt:lpstr>What is the problem?</vt:lpstr>
      <vt:lpstr>Why does the problem continue to persist?</vt:lpstr>
      <vt:lpstr>Process-based solution – 10X</vt:lpstr>
      <vt:lpstr>Process-based solution – 10X</vt:lpstr>
      <vt:lpstr>Process-based solution – 10X</vt:lpstr>
      <vt:lpstr>Process-based solution – 10X</vt:lpstr>
      <vt:lpstr>The Gameplan </vt:lpstr>
      <vt:lpstr>The Gameplan  </vt:lpstr>
      <vt:lpstr>The Gameplan </vt:lpstr>
      <vt:lpstr>The Gameplan </vt:lpstr>
      <vt:lpstr>Outputs</vt:lpstr>
      <vt:lpstr>What does this look like?</vt:lpstr>
      <vt:lpstr>What does this look like?</vt:lpstr>
      <vt:lpstr>Partner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print 1 Acute Malnutrition Prevention Lab  India 2019</dc:title>
  <dc:creator>Suhit Anantula</dc:creator>
  <cp:lastModifiedBy>Kate Sutton</cp:lastModifiedBy>
  <cp:revision>30</cp:revision>
  <dcterms:created xsi:type="dcterms:W3CDTF">2019-05-23T02:22:04Z</dcterms:created>
  <dcterms:modified xsi:type="dcterms:W3CDTF">2019-11-04T21:11:01Z</dcterms:modified>
</cp:coreProperties>
</file>